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removePersonalInfoOnSave="1" saveSubsetFonts="1">
  <p:sldMasterIdLst>
    <p:sldMasterId id="2147483648" r:id="rId1"/>
    <p:sldMasterId id="2147483762" r:id="rId2"/>
  </p:sldMasterIdLst>
  <p:notesMasterIdLst>
    <p:notesMasterId r:id="rId10"/>
  </p:notesMasterIdLst>
  <p:handoutMasterIdLst>
    <p:handoutMasterId r:id="rId11"/>
  </p:handoutMasterIdLst>
  <p:sldIdLst>
    <p:sldId id="411" r:id="rId3"/>
    <p:sldId id="399" r:id="rId4"/>
    <p:sldId id="412" r:id="rId5"/>
    <p:sldId id="414" r:id="rId6"/>
    <p:sldId id="417" r:id="rId7"/>
    <p:sldId id="413" r:id="rId8"/>
    <p:sldId id="416" r:id="rId9"/>
  </p:sldIdLst>
  <p:sldSz cx="12192000" cy="6858000"/>
  <p:notesSz cx="6810375" cy="9942513"/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Forfatter" initials="F" lastIdx="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emlayout 2 - Marker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llemlayout 2 - Markering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ellemlayout 2 - Markering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Mellemlayout 2 - Markering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85BE263C-DBD7-4A20-BB59-AAB30ACAA65A}" styleName="Mellemlayout 3 - Markering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ellemlayou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llemlayout 2 - Markering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420" autoAdjust="0"/>
    <p:restoredTop sz="93760" autoAdjust="0"/>
  </p:normalViewPr>
  <p:slideViewPr>
    <p:cSldViewPr snapToGrid="0" showGuides="1">
      <p:cViewPr varScale="1">
        <p:scale>
          <a:sx n="124" d="100"/>
          <a:sy n="124" d="100"/>
        </p:scale>
        <p:origin x="102" y="2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78" d="100"/>
          <a:sy n="78" d="100"/>
        </p:scale>
        <p:origin x="3978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commentAuthors" Target="commentAuthor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2"/>
          </p:nvPr>
        </p:nvSpPr>
        <p:spPr>
          <a:xfrm>
            <a:off x="0" y="9443662"/>
            <a:ext cx="2951163" cy="49885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"/>
          </p:nvPr>
        </p:nvSpPr>
        <p:spPr>
          <a:xfrm>
            <a:off x="3857636" y="9443662"/>
            <a:ext cx="2951163" cy="49885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D8382C0-1D05-4229-918E-CDD7B7E48B4A}" type="slidenum">
              <a:rPr lang="en-GB" smtClean="0"/>
              <a:t>‹nr.›</a:t>
            </a:fld>
            <a:endParaRPr lang="en-GB"/>
          </a:p>
        </p:txBody>
      </p:sp>
      <p:sp>
        <p:nvSpPr>
          <p:cNvPr id="8" name="Date Placeholder 7"/>
          <p:cNvSpPr>
            <a:spLocks noGrp="1"/>
          </p:cNvSpPr>
          <p:nvPr>
            <p:ph type="dt" sz="quarter" idx="1"/>
          </p:nvPr>
        </p:nvSpPr>
        <p:spPr>
          <a:xfrm>
            <a:off x="3857636" y="0"/>
            <a:ext cx="2951163" cy="49885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F6AEEE-E778-402E-8B8F-9A98AED26EB8}" type="datetimeFigureOut">
              <a:rPr lang="en-GB" smtClean="0"/>
              <a:t>28/03/2023</a:t>
            </a:fld>
            <a:endParaRPr lang="en-GB"/>
          </a:p>
        </p:txBody>
      </p:sp>
      <p:sp>
        <p:nvSpPr>
          <p:cNvPr id="9" name="Header Placeholder 8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1163" cy="49885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947997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Notes Placeholder 7"/>
          <p:cNvSpPr>
            <a:spLocks noGrp="1"/>
          </p:cNvSpPr>
          <p:nvPr>
            <p:ph type="body" sz="quarter" idx="3"/>
          </p:nvPr>
        </p:nvSpPr>
        <p:spPr>
          <a:xfrm>
            <a:off x="681038" y="4784835"/>
            <a:ext cx="5448300" cy="391486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Date Placeholder 8"/>
          <p:cNvSpPr>
            <a:spLocks noGrp="1"/>
          </p:cNvSpPr>
          <p:nvPr>
            <p:ph type="dt" idx="1"/>
          </p:nvPr>
        </p:nvSpPr>
        <p:spPr>
          <a:xfrm>
            <a:off x="3857636" y="0"/>
            <a:ext cx="2951163" cy="49885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/>
            </a:lvl1pPr>
          </a:lstStyle>
          <a:p>
            <a:fld id="{1386E511-D742-4EFE-90B5-C9FC42762E0F}" type="datetimeFigureOut">
              <a:rPr lang="en-GB" smtClean="0"/>
              <a:pPr/>
              <a:t>28/03/2023</a:t>
            </a:fld>
            <a:endParaRPr lang="en-GB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5"/>
          </p:nvPr>
        </p:nvSpPr>
        <p:spPr>
          <a:xfrm>
            <a:off x="3857636" y="9443662"/>
            <a:ext cx="2951163" cy="49885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/>
            </a:lvl1pPr>
          </a:lstStyle>
          <a:p>
            <a:fld id="{A16CFAD1-D197-4A88-B173-A6412E995EE5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4"/>
          </p:nvPr>
        </p:nvSpPr>
        <p:spPr>
          <a:xfrm>
            <a:off x="0" y="9443662"/>
            <a:ext cx="2951163" cy="49885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/>
            </a:lvl1pPr>
          </a:lstStyle>
          <a:p>
            <a:endParaRPr lang="en-GB"/>
          </a:p>
        </p:txBody>
      </p:sp>
      <p:sp>
        <p:nvSpPr>
          <p:cNvPr id="12" name="Slide Image Placeholder 11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3013"/>
            <a:ext cx="5965825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13" name="Header Placeholder 1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1163" cy="49885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006011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963701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357112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A1CBA8C2-5FDD-4C6C-A1AF-9BABA75E417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12192000" cy="6858000"/>
          </a:xfrm>
        </p:spPr>
        <p:txBody>
          <a:bodyPr lIns="5914800" tIns="648000" anchor="ctr" anchorCtr="0"/>
          <a:lstStyle>
            <a:lvl1pPr marL="0" indent="0">
              <a:buNone/>
              <a:defRPr/>
            </a:lvl1pPr>
          </a:lstStyle>
          <a:p>
            <a:r>
              <a:rPr lang="da-DK" dirty="0"/>
              <a:t>Klik på ikonet for at tilføje baggrundsbillede eller grafik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65CBFB77-1EFA-40BD-9626-B9C2C352BBCD}"/>
              </a:ext>
            </a:extLst>
          </p:cNvPr>
          <p:cNvSpPr>
            <a:spLocks noGrp="1"/>
          </p:cNvSpPr>
          <p:nvPr userDrawn="1">
            <p:ph type="body" sz="quarter" idx="16"/>
          </p:nvPr>
        </p:nvSpPr>
        <p:spPr>
          <a:xfrm>
            <a:off x="540000" y="3895778"/>
            <a:ext cx="11109600" cy="2306584"/>
          </a:xfrm>
          <a:custGeom>
            <a:avLst/>
            <a:gdLst>
              <a:gd name="connsiteX0" fmla="*/ 1157038 w 11109600"/>
              <a:gd name="connsiteY0" fmla="*/ 1154059 h 2306584"/>
              <a:gd name="connsiteX1" fmla="*/ 2314325 w 11109600"/>
              <a:gd name="connsiteY1" fmla="*/ 2306584 h 2306584"/>
              <a:gd name="connsiteX2" fmla="*/ 1928563 w 11109600"/>
              <a:gd name="connsiteY2" fmla="*/ 2306584 h 2306584"/>
              <a:gd name="connsiteX3" fmla="*/ 1157038 w 11109600"/>
              <a:gd name="connsiteY3" fmla="*/ 1538234 h 2306584"/>
              <a:gd name="connsiteX4" fmla="*/ 385513 w 11109600"/>
              <a:gd name="connsiteY4" fmla="*/ 2306584 h 2306584"/>
              <a:gd name="connsiteX5" fmla="*/ 5778 w 11109600"/>
              <a:gd name="connsiteY5" fmla="*/ 2306584 h 2306584"/>
              <a:gd name="connsiteX6" fmla="*/ 0 w 11109600"/>
              <a:gd name="connsiteY6" fmla="*/ 2306584 h 2306584"/>
              <a:gd name="connsiteX7" fmla="*/ 0 w 11109600"/>
              <a:gd name="connsiteY7" fmla="*/ 2304116 h 2306584"/>
              <a:gd name="connsiteX8" fmla="*/ 23270 w 11109600"/>
              <a:gd name="connsiteY8" fmla="*/ 2074363 h 2306584"/>
              <a:gd name="connsiteX9" fmla="*/ 1157038 w 11109600"/>
              <a:gd name="connsiteY9" fmla="*/ 1154059 h 2306584"/>
              <a:gd name="connsiteX10" fmla="*/ 11109600 w 11109600"/>
              <a:gd name="connsiteY10" fmla="*/ 0 h 2306584"/>
              <a:gd name="connsiteX11" fmla="*/ 11109600 w 11109600"/>
              <a:gd name="connsiteY11" fmla="*/ 384439 h 2306584"/>
              <a:gd name="connsiteX12" fmla="*/ 11031756 w 11109600"/>
              <a:gd name="connsiteY12" fmla="*/ 388353 h 2306584"/>
              <a:gd name="connsiteX13" fmla="*/ 10339138 w 11109600"/>
              <a:gd name="connsiteY13" fmla="*/ 1153265 h 2306584"/>
              <a:gd name="connsiteX14" fmla="*/ 11031756 w 11109600"/>
              <a:gd name="connsiteY14" fmla="*/ 1918177 h 2306584"/>
              <a:gd name="connsiteX15" fmla="*/ 11109600 w 11109600"/>
              <a:gd name="connsiteY15" fmla="*/ 1922092 h 2306584"/>
              <a:gd name="connsiteX16" fmla="*/ 11109600 w 11109600"/>
              <a:gd name="connsiteY16" fmla="*/ 2306531 h 2306584"/>
              <a:gd name="connsiteX17" fmla="*/ 10992367 w 11109600"/>
              <a:gd name="connsiteY17" fmla="*/ 2300628 h 2306584"/>
              <a:gd name="connsiteX18" fmla="*/ 9953375 w 11109600"/>
              <a:gd name="connsiteY18" fmla="*/ 1153265 h 2306584"/>
              <a:gd name="connsiteX19" fmla="*/ 10992367 w 11109600"/>
              <a:gd name="connsiteY19" fmla="*/ 5894 h 23065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1109600" h="2306584">
                <a:moveTo>
                  <a:pt x="1157038" y="1154059"/>
                </a:moveTo>
                <a:cubicBezTo>
                  <a:pt x="1796007" y="1154059"/>
                  <a:pt x="2314325" y="1670245"/>
                  <a:pt x="2314325" y="2306584"/>
                </a:cubicBezTo>
                <a:cubicBezTo>
                  <a:pt x="1928563" y="2306584"/>
                  <a:pt x="1928563" y="2306584"/>
                  <a:pt x="1928563" y="2306584"/>
                </a:cubicBezTo>
                <a:cubicBezTo>
                  <a:pt x="1928563" y="1882095"/>
                  <a:pt x="1583282" y="1538234"/>
                  <a:pt x="1157038" y="1538234"/>
                </a:cubicBezTo>
                <a:cubicBezTo>
                  <a:pt x="730794" y="1538234"/>
                  <a:pt x="385513" y="1882095"/>
                  <a:pt x="385513" y="2306584"/>
                </a:cubicBezTo>
                <a:cubicBezTo>
                  <a:pt x="96191" y="2306584"/>
                  <a:pt x="23860" y="2306584"/>
                  <a:pt x="5778" y="2306584"/>
                </a:cubicBezTo>
                <a:lnTo>
                  <a:pt x="0" y="2306584"/>
                </a:lnTo>
                <a:lnTo>
                  <a:pt x="0" y="2304116"/>
                </a:lnTo>
                <a:lnTo>
                  <a:pt x="23270" y="2074363"/>
                </a:lnTo>
                <a:cubicBezTo>
                  <a:pt x="131215" y="1549264"/>
                  <a:pt x="597940" y="1154059"/>
                  <a:pt x="1157038" y="1154059"/>
                </a:cubicBezTo>
                <a:close/>
                <a:moveTo>
                  <a:pt x="11109600" y="0"/>
                </a:moveTo>
                <a:lnTo>
                  <a:pt x="11109600" y="384439"/>
                </a:lnTo>
                <a:lnTo>
                  <a:pt x="11031756" y="388353"/>
                </a:lnTo>
                <a:cubicBezTo>
                  <a:pt x="10642608" y="427713"/>
                  <a:pt x="10339138" y="755032"/>
                  <a:pt x="10339138" y="1153265"/>
                </a:cubicBezTo>
                <a:cubicBezTo>
                  <a:pt x="10339138" y="1551498"/>
                  <a:pt x="10642608" y="1878818"/>
                  <a:pt x="11031756" y="1918177"/>
                </a:cubicBezTo>
                <a:lnTo>
                  <a:pt x="11109600" y="1922092"/>
                </a:lnTo>
                <a:lnTo>
                  <a:pt x="11109600" y="2306531"/>
                </a:lnTo>
                <a:lnTo>
                  <a:pt x="10992367" y="2300628"/>
                </a:lnTo>
                <a:cubicBezTo>
                  <a:pt x="10408929" y="2241547"/>
                  <a:pt x="9953375" y="1750245"/>
                  <a:pt x="9953375" y="1153265"/>
                </a:cubicBezTo>
                <a:cubicBezTo>
                  <a:pt x="9953375" y="555544"/>
                  <a:pt x="10408929" y="64891"/>
                  <a:pt x="10992367" y="5894"/>
                </a:cubicBezTo>
                <a:close/>
              </a:path>
            </a:pathLst>
          </a:custGeom>
          <a:solidFill>
            <a:srgbClr val="F39678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9749" y="1394807"/>
            <a:ext cx="7286727" cy="2068025"/>
          </a:xfrm>
        </p:spPr>
        <p:txBody>
          <a:bodyPr anchor="b">
            <a:normAutofit/>
          </a:bodyPr>
          <a:lstStyle>
            <a:lvl1pPr algn="l">
              <a:lnSpc>
                <a:spcPct val="86000"/>
              </a:lnSpc>
              <a:defRPr sz="5200">
                <a:solidFill>
                  <a:schemeClr val="tx1"/>
                </a:solidFill>
              </a:defRPr>
            </a:lvl1pPr>
          </a:lstStyle>
          <a:p>
            <a:r>
              <a:rPr lang="da-DK" dirty="0"/>
              <a:t>Klik for at tilføje titel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9750" y="3714750"/>
            <a:ext cx="5375276" cy="84582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1pPr>
            <a:lvl2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2000"/>
            </a:lvl2pPr>
            <a:lvl3pPr marL="0" indent="0" algn="l">
              <a:lnSpc>
                <a:spcPct val="100000"/>
              </a:lnSpc>
              <a:buFont typeface="Arial" panose="020B0604020202020204" pitchFamily="34" charset="0"/>
              <a:buChar char="​"/>
              <a:defRPr sz="2000"/>
            </a:lvl3pPr>
            <a:lvl4pPr marL="0" indent="0" algn="l">
              <a:lnSpc>
                <a:spcPct val="100000"/>
              </a:lnSpc>
              <a:buFont typeface="Arial" panose="020B0604020202020204" pitchFamily="34" charset="0"/>
              <a:buChar char="​"/>
              <a:defRPr sz="2000"/>
            </a:lvl4pPr>
            <a:lvl5pPr marL="0" indent="0" algn="l">
              <a:lnSpc>
                <a:spcPct val="100000"/>
              </a:lnSpc>
              <a:buFont typeface="Arial" panose="020B0604020202020204" pitchFamily="34" charset="0"/>
              <a:buChar char="​"/>
              <a:defRPr sz="2000"/>
            </a:lvl5pPr>
            <a:lvl6pPr marL="0" indent="0" algn="l">
              <a:lnSpc>
                <a:spcPct val="100000"/>
              </a:lnSpc>
              <a:buFont typeface="Arial" panose="020B0604020202020204" pitchFamily="34" charset="0"/>
              <a:buChar char="​"/>
              <a:defRPr sz="2000"/>
            </a:lvl6pPr>
            <a:lvl7pPr marL="0" indent="0" algn="l">
              <a:lnSpc>
                <a:spcPct val="100000"/>
              </a:lnSpc>
              <a:buFont typeface="Arial" panose="020B0604020202020204" pitchFamily="34" charset="0"/>
              <a:buChar char="​"/>
              <a:defRPr sz="2000"/>
            </a:lvl7pPr>
            <a:lvl8pPr marL="0" indent="0" algn="l">
              <a:lnSpc>
                <a:spcPct val="100000"/>
              </a:lnSpc>
              <a:buFont typeface="Arial" panose="020B0604020202020204" pitchFamily="34" charset="0"/>
              <a:buChar char="​"/>
              <a:defRPr sz="2000"/>
            </a:lvl8pPr>
            <a:lvl9pPr marL="0" indent="0" algn="l">
              <a:lnSpc>
                <a:spcPct val="100000"/>
              </a:lnSpc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da-DK" dirty="0"/>
              <a:t>Klik for at tilføje underoverskrift i flere linjer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A150808B-E263-4FBC-9570-DFE480C0F8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86737" y="293147"/>
            <a:ext cx="1912938" cy="165730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9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900" baseline="0"/>
            </a:lvl2pPr>
            <a:lvl3pPr marL="0" indent="0">
              <a:spcBef>
                <a:spcPts val="0"/>
              </a:spcBef>
              <a:buFontTx/>
              <a:buNone/>
              <a:defRPr sz="900" baseline="0"/>
            </a:lvl3pPr>
            <a:lvl4pPr>
              <a:spcBef>
                <a:spcPts val="0"/>
              </a:spcBef>
              <a:buFontTx/>
              <a:buNone/>
              <a:defRPr sz="900" baseline="0"/>
            </a:lvl4pPr>
            <a:lvl5pPr>
              <a:spcBef>
                <a:spcPts val="0"/>
              </a:spcBef>
              <a:buFontTx/>
              <a:buNone/>
              <a:defRPr sz="900" b="0" baseline="0"/>
            </a:lvl5pPr>
          </a:lstStyle>
          <a:p>
            <a:pPr lvl="0"/>
            <a:r>
              <a:rPr lang="da-DK" dirty="0"/>
              <a:t>Klik for at tilføje navn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848790F6-CFD6-41BF-996C-6434B29FA7D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86737" y="458876"/>
            <a:ext cx="1912938" cy="188824"/>
          </a:xfrm>
        </p:spPr>
        <p:txBody>
          <a:bodyPr/>
          <a:lstStyle>
            <a:lvl1pPr marL="0" indent="0">
              <a:buNone/>
              <a:defRPr sz="900" baseline="0">
                <a:solidFill>
                  <a:schemeClr val="tx1"/>
                </a:solidFill>
              </a:defRPr>
            </a:lvl1pPr>
            <a:lvl2pPr marL="0" indent="0">
              <a:buNone/>
              <a:defRPr sz="900" baseline="0">
                <a:solidFill>
                  <a:schemeClr val="accent4"/>
                </a:solidFill>
              </a:defRPr>
            </a:lvl2pPr>
            <a:lvl3pPr marL="0" indent="0">
              <a:buNone/>
              <a:defRPr sz="900" baseline="0">
                <a:solidFill>
                  <a:schemeClr val="accent4"/>
                </a:solidFill>
              </a:defRPr>
            </a:lvl3pPr>
            <a:lvl4pPr>
              <a:buNone/>
              <a:defRPr sz="900" baseline="0">
                <a:solidFill>
                  <a:schemeClr val="accent4"/>
                </a:solidFill>
              </a:defRPr>
            </a:lvl4pPr>
            <a:lvl5pPr>
              <a:buNone/>
              <a:defRPr sz="900" b="0" baseline="0">
                <a:solidFill>
                  <a:schemeClr val="accent4"/>
                </a:solidFill>
              </a:defRPr>
            </a:lvl5pPr>
          </a:lstStyle>
          <a:p>
            <a:pPr lvl="0"/>
            <a:r>
              <a:rPr lang="da-DK" dirty="0"/>
              <a:t>Klik for at tilføje titel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697343A0-2427-49D0-86FF-278091551D9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099675" y="293146"/>
            <a:ext cx="1550988" cy="165730"/>
          </a:xfrm>
        </p:spPr>
        <p:txBody>
          <a:bodyPr anchor="t" anchorCtr="0"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fld id="{847DE9F2-C561-414B-A4EA-66EAE0C9987A}" type="datetime2">
              <a:rPr lang="da-DK" smtClean="0"/>
              <a:t>28. marts 2023</a:t>
            </a:fld>
            <a:endParaRPr lang="da-DK" dirty="0"/>
          </a:p>
        </p:txBody>
      </p:sp>
      <p:sp>
        <p:nvSpPr>
          <p:cNvPr id="26" name="Footer Placeholder 3">
            <a:extLst>
              <a:ext uri="{FF2B5EF4-FFF2-40B4-BE49-F238E27FC236}">
                <a16:creationId xmlns:a16="http://schemas.microsoft.com/office/drawing/2014/main" id="{BC8A0B44-7BEC-4535-AD60-7EC23794D93A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da-DK"/>
              <a:t>Arbejdsområder og -opgaver i LEU og ASK</a:t>
            </a:r>
            <a:endParaRPr lang="da-DK" dirty="0"/>
          </a:p>
        </p:txBody>
      </p:sp>
      <p:sp>
        <p:nvSpPr>
          <p:cNvPr id="27" name="Slide Number Placeholder 4">
            <a:extLst>
              <a:ext uri="{FF2B5EF4-FFF2-40B4-BE49-F238E27FC236}">
                <a16:creationId xmlns:a16="http://schemas.microsoft.com/office/drawing/2014/main" id="{EF8ABEC4-FE86-479C-9494-A3482DA451EB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0" y="6861600"/>
            <a:ext cx="0" cy="0"/>
          </a:xfrm>
          <a:noFill/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9" name="Pladsholder til tekst 18">
            <a:extLst>
              <a:ext uri="{FF2B5EF4-FFF2-40B4-BE49-F238E27FC236}">
                <a16:creationId xmlns:a16="http://schemas.microsoft.com/office/drawing/2014/main" id="{0331C7BF-B37F-48D2-A3A2-605F52BB8F4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40000" y="234000"/>
            <a:ext cx="1857600" cy="5112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  <a:lvl2pPr marL="216000" indent="0">
              <a:buNone/>
              <a:defRPr sz="100"/>
            </a:lvl2pPr>
            <a:lvl3pPr marL="432000" indent="0">
              <a:buNone/>
              <a:defRPr sz="100"/>
            </a:lvl3pPr>
            <a:lvl4pPr>
              <a:buNone/>
              <a:defRPr sz="100"/>
            </a:lvl4pPr>
            <a:lvl5pPr>
              <a:buNone/>
              <a:defRPr sz="100"/>
            </a:lvl5pPr>
          </a:lstStyle>
          <a:p>
            <a:pPr lvl="0"/>
            <a:r>
              <a:rPr lang="da-DK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06912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´Tre spalter (tekst/billed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591138"/>
            <a:ext cx="7288213" cy="898297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>Klik for at tilføje titel</a:t>
            </a:r>
            <a:endParaRPr lang="da-DK" noProof="0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6810C78A-23C9-4426-9672-56EAFB0CECFC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539750" y="1053909"/>
            <a:ext cx="7288214" cy="435525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-DK" dirty="0"/>
              <a:t>Klik for at tilføje underoverskrift i en linj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quarter" idx="13" hasCustomPrompt="1"/>
          </p:nvPr>
        </p:nvSpPr>
        <p:spPr>
          <a:xfrm>
            <a:off x="539749" y="1818000"/>
            <a:ext cx="3463925" cy="4284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noProof="0" dirty="0"/>
              <a:t>Klik for at tilføje tekst</a:t>
            </a:r>
          </a:p>
          <a:p>
            <a:pPr lvl="1"/>
            <a:r>
              <a:rPr lang="da-DK" noProof="0" dirty="0"/>
              <a:t>Secon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2"/>
            <a:r>
              <a:rPr lang="da-DK" noProof="0" dirty="0"/>
              <a:t>Thir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3"/>
            <a:r>
              <a:rPr lang="da-DK" noProof="0" dirty="0" err="1"/>
              <a:t>Fourth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4"/>
            <a:r>
              <a:rPr lang="da-DK" noProof="0" dirty="0"/>
              <a:t>Fifth </a:t>
            </a:r>
            <a:r>
              <a:rPr lang="da-DK" noProof="0" dirty="0" err="1"/>
              <a:t>level</a:t>
            </a:r>
            <a:endParaRPr lang="da-DK" noProof="0" dirty="0"/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62450" y="1871663"/>
            <a:ext cx="3463200" cy="4229100"/>
          </a:xfrm>
          <a:solidFill>
            <a:schemeClr val="bg2"/>
          </a:solidFill>
        </p:spPr>
        <p:txBody>
          <a:bodyPr lIns="360000" tIns="900000" rIns="360000" anchor="ctr" anchorCtr="0"/>
          <a:lstStyle>
            <a:lvl1pPr marL="0" indent="0" algn="ctr">
              <a:buNone/>
              <a:defRPr sz="1500"/>
            </a:lvl1pPr>
          </a:lstStyle>
          <a:p>
            <a:r>
              <a:rPr lang="da-DK" noProof="0" dirty="0"/>
              <a:t>Klik på ikonet for at tilføje billede eller grafik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902E80B0-27A7-4F1F-8447-70F659FCD333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8186737" y="1871663"/>
            <a:ext cx="3463926" cy="4229100"/>
          </a:xfrm>
          <a:solidFill>
            <a:schemeClr val="bg2"/>
          </a:solidFill>
        </p:spPr>
        <p:txBody>
          <a:bodyPr lIns="360000" tIns="900000" rIns="360000" anchor="ctr" anchorCtr="0"/>
          <a:lstStyle>
            <a:lvl1pPr marL="0" marR="0" indent="0" algn="ctr" defTabSz="914400" rtl="0" eaLnBrk="1" fontAlgn="auto" latinLnBrk="0" hangingPunct="1">
              <a:lnSpc>
                <a:spcPct val="11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1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noProof="0" dirty="0"/>
              <a:t>Klik på ikonet for at tilføje billede eller grafik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F2E72B64-D55D-4FBA-AB42-4C2CA5D3CF6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14A60EBD-3D46-40BA-B761-1AFD9920B776}" type="datetime2">
              <a:rPr lang="da-DK" smtClean="0"/>
              <a:t>28. marts 2023</a:t>
            </a:fld>
            <a:endParaRPr lang="da-DK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3ACC3765-6ADF-4B65-9AFB-C50473B973C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a-DK"/>
              <a:t>Arbejdsområder og -opgaver i LEU og ASK</a:t>
            </a:r>
            <a:endParaRPr lang="da-DK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659E3BFE-B339-4298-976D-1CB2ABBC25E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a-DK" dirty="0"/>
              <a:t>Side </a:t>
            </a:r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6699034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spalter (tekst/grafer etc.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591138"/>
            <a:ext cx="7288213" cy="898297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>Klik for at tilføje titel</a:t>
            </a:r>
            <a:endParaRPr lang="da-DK" noProof="0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6810C78A-23C9-4426-9672-56EAFB0CECFC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539750" y="1053909"/>
            <a:ext cx="7288213" cy="435525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-DK" dirty="0"/>
              <a:t>Klik for at tilføje underoverskrift i en linj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quarter" idx="13" hasCustomPrompt="1"/>
          </p:nvPr>
        </p:nvSpPr>
        <p:spPr>
          <a:xfrm>
            <a:off x="539750" y="1818000"/>
            <a:ext cx="3463925" cy="4284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tilføje tekst eller klik på tabel-/graf-/SmartArt- eller video-ikon for at indsætte objekt. For at indsætte billede, skift til layout: Tre spalter (tekst/billede)</a:t>
            </a:r>
            <a:endParaRPr lang="da-DK" noProof="0" dirty="0"/>
          </a:p>
          <a:p>
            <a:pPr lvl="1"/>
            <a:r>
              <a:rPr lang="da-DK" noProof="0" dirty="0"/>
              <a:t>Secon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2"/>
            <a:r>
              <a:rPr lang="da-DK" noProof="0" dirty="0"/>
              <a:t>Thir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3"/>
            <a:r>
              <a:rPr lang="da-DK" noProof="0" dirty="0" err="1"/>
              <a:t>Fourth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4"/>
            <a:r>
              <a:rPr lang="da-DK" noProof="0" dirty="0"/>
              <a:t>Fifth </a:t>
            </a:r>
            <a:r>
              <a:rPr lang="da-DK" noProof="0" dirty="0" err="1"/>
              <a:t>level</a:t>
            </a:r>
            <a:endParaRPr lang="da-DK" noProof="0" dirty="0"/>
          </a:p>
        </p:txBody>
      </p:sp>
      <p:sp>
        <p:nvSpPr>
          <p:cNvPr id="13" name="Content Placeholder 13">
            <a:extLst>
              <a:ext uri="{FF2B5EF4-FFF2-40B4-BE49-F238E27FC236}">
                <a16:creationId xmlns:a16="http://schemas.microsoft.com/office/drawing/2014/main" id="{7583199B-5647-449E-90B4-9FCBFAD89242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362450" y="1818000"/>
            <a:ext cx="3463200" cy="4284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tilføje tekst eller klik på tabel-/graf-/SmartArt- eller video-ikon for at indsætte objekt. For at indsætte billede, skift til layout: Tre spalter (tekst/billede)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76EEC813-1AA2-40B5-98B4-D25FA0A0A659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8186737" y="1818000"/>
            <a:ext cx="3463926" cy="4284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tilføje tekst eller klik på tabel-/graf-/SmartArt- eller video-ikon for at indsætte objekt. For at indsætte billede, skift til layout: Tre spalter (tekst/billede)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F2E72B64-D55D-4FBA-AB42-4C2CA5D3CF6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19DA4597-5CF0-47D0-8468-97AAC2C7D301}" type="datetime2">
              <a:rPr lang="da-DK" smtClean="0"/>
              <a:t>28. marts 2023</a:t>
            </a:fld>
            <a:endParaRPr lang="da-DK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3ACC3765-6ADF-4B65-9AFB-C50473B973C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a-DK"/>
              <a:t>Arbejdsområder og -opgaver i LEU og ASK</a:t>
            </a:r>
            <a:endParaRPr lang="da-DK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659E3BFE-B339-4298-976D-1CB2ABBC25E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a-DK" dirty="0"/>
              <a:t>Side </a:t>
            </a:r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358626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spalter (tekst/billed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591138"/>
            <a:ext cx="7288213" cy="898297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>Klik for at tilføje titel</a:t>
            </a:r>
            <a:endParaRPr lang="da-DK" noProof="0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6810C78A-23C9-4426-9672-56EAFB0CECFC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539750" y="1053909"/>
            <a:ext cx="7288214" cy="435525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-DK" dirty="0"/>
              <a:t>Klik for at tilføje underoverskrift i en linj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quarter" idx="13" hasCustomPrompt="1"/>
          </p:nvPr>
        </p:nvSpPr>
        <p:spPr>
          <a:xfrm>
            <a:off x="539750" y="1818000"/>
            <a:ext cx="2505600" cy="4284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noProof="0" dirty="0"/>
              <a:t>Klik for at tilføje tekst</a:t>
            </a:r>
          </a:p>
          <a:p>
            <a:pPr lvl="1"/>
            <a:r>
              <a:rPr lang="da-DK" noProof="0" dirty="0"/>
              <a:t>Secon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2"/>
            <a:r>
              <a:rPr lang="da-DK" noProof="0" dirty="0"/>
              <a:t>Thir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3"/>
            <a:r>
              <a:rPr lang="da-DK" noProof="0" dirty="0" err="1"/>
              <a:t>Fourth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4"/>
            <a:r>
              <a:rPr lang="da-DK" noProof="0" dirty="0"/>
              <a:t>Fifth </a:t>
            </a:r>
            <a:r>
              <a:rPr lang="da-DK" noProof="0" dirty="0" err="1"/>
              <a:t>level</a:t>
            </a:r>
            <a:endParaRPr lang="da-DK" noProof="0" dirty="0"/>
          </a:p>
        </p:txBody>
      </p:sp>
      <p:sp>
        <p:nvSpPr>
          <p:cNvPr id="13" name="Content Placeholder 13">
            <a:extLst>
              <a:ext uri="{FF2B5EF4-FFF2-40B4-BE49-F238E27FC236}">
                <a16:creationId xmlns:a16="http://schemas.microsoft.com/office/drawing/2014/main" id="{7583199B-5647-449E-90B4-9FCBFAD89242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278560" y="1818000"/>
            <a:ext cx="2504917" cy="4284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tilføj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E20DCD1B-1F5E-4F5B-9B82-1C62ABAB80C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409949" y="1871663"/>
            <a:ext cx="2505076" cy="4229100"/>
          </a:xfrm>
          <a:solidFill>
            <a:schemeClr val="bg2"/>
          </a:solidFill>
        </p:spPr>
        <p:txBody>
          <a:bodyPr tIns="900000" anchor="ctr" anchorCtr="0"/>
          <a:lstStyle>
            <a:lvl1pPr marL="0" indent="0" algn="ctr">
              <a:buNone/>
              <a:defRPr sz="1500"/>
            </a:lvl1pPr>
          </a:lstStyle>
          <a:p>
            <a:r>
              <a:rPr lang="da-DK" noProof="0" dirty="0"/>
              <a:t>Klik på ikonet for at tilføje  billede eller grafik</a:t>
            </a:r>
          </a:p>
        </p:txBody>
      </p:sp>
      <p:sp>
        <p:nvSpPr>
          <p:cNvPr id="17" name="Picture Placeholder 5">
            <a:extLst>
              <a:ext uri="{FF2B5EF4-FFF2-40B4-BE49-F238E27FC236}">
                <a16:creationId xmlns:a16="http://schemas.microsoft.com/office/drawing/2014/main" id="{9A6F2E00-4ACC-4306-80E9-3676A532814E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9148235" y="1871663"/>
            <a:ext cx="2502428" cy="4229100"/>
          </a:xfrm>
          <a:solidFill>
            <a:schemeClr val="bg2"/>
          </a:solidFill>
        </p:spPr>
        <p:txBody>
          <a:bodyPr tIns="900000" anchor="ctr" anchorCtr="0"/>
          <a:lstStyle>
            <a:lvl1pPr marL="0" indent="0" algn="ctr">
              <a:buNone/>
              <a:defRPr/>
            </a:lvl1pPr>
          </a:lstStyle>
          <a:p>
            <a:r>
              <a:rPr lang="da-DK" noProof="0" dirty="0"/>
              <a:t>Klik på ikonet for at tilføje  billede eller grafik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F2E72B64-D55D-4FBA-AB42-4C2CA5D3CF6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C0859658-7E43-405F-BA97-86EEE510DE63}" type="datetime2">
              <a:rPr lang="da-DK" smtClean="0"/>
              <a:t>28. marts 2023</a:t>
            </a:fld>
            <a:endParaRPr lang="da-DK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3ACC3765-6ADF-4B65-9AFB-C50473B973C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a-DK"/>
              <a:t>Arbejdsområder og -opgaver i LEU og ASK</a:t>
            </a:r>
            <a:endParaRPr lang="da-DK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659E3BFE-B339-4298-976D-1CB2ABBC25E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a-DK" dirty="0"/>
              <a:t>Side </a:t>
            </a:r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65579023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spalter (tekst/grafer etc.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591138"/>
            <a:ext cx="7288213" cy="898297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>Klik for at tilføje titel</a:t>
            </a:r>
            <a:endParaRPr lang="da-DK" noProof="0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6810C78A-23C9-4426-9672-56EAFB0CECFC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539750" y="1053909"/>
            <a:ext cx="7288214" cy="435525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-DK" dirty="0"/>
              <a:t>Klik for at tilføje underoverskrift i en linj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quarter" idx="13" hasCustomPrompt="1"/>
          </p:nvPr>
        </p:nvSpPr>
        <p:spPr>
          <a:xfrm>
            <a:off x="539750" y="1818000"/>
            <a:ext cx="2505600" cy="4284000"/>
          </a:xfrm>
        </p:spPr>
        <p:txBody>
          <a:bodyPr/>
          <a:lstStyle>
            <a:lvl1pPr marL="216000" marR="0" indent="-216000" algn="l" defTabSz="914400" rtl="0" eaLnBrk="1" fontAlgn="auto" latinLnBrk="0" hangingPunct="1">
              <a:lnSpc>
                <a:spcPct val="11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</a:lstStyle>
          <a:p>
            <a:pPr marL="216000" marR="0" lvl="0" indent="-216000" algn="l" defTabSz="914400" rtl="0" eaLnBrk="1" fontAlgn="auto" latinLnBrk="0" hangingPunct="1">
              <a:lnSpc>
                <a:spcPct val="11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 dirty="0"/>
              <a:t>Klik for at tilføje tekst eller klik på tabel-/graf-/SmartArt- eller video-ikon for at indsætte objekt. For at indsætte billede, skift til layout: Fire spalter (tekst/billede)</a:t>
            </a:r>
          </a:p>
          <a:p>
            <a:pPr lvl="0"/>
            <a:endParaRPr lang="da-DK" noProof="0" dirty="0"/>
          </a:p>
          <a:p>
            <a:pPr lvl="1"/>
            <a:r>
              <a:rPr lang="da-DK" noProof="0" dirty="0"/>
              <a:t>Secon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2"/>
            <a:r>
              <a:rPr lang="da-DK" noProof="0" dirty="0"/>
              <a:t>Thir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3"/>
            <a:r>
              <a:rPr lang="da-DK" noProof="0" dirty="0" err="1"/>
              <a:t>Fourth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4"/>
            <a:r>
              <a:rPr lang="da-DK" noProof="0" dirty="0"/>
              <a:t>Fifth </a:t>
            </a:r>
            <a:r>
              <a:rPr lang="da-DK" noProof="0" dirty="0" err="1"/>
              <a:t>level</a:t>
            </a:r>
            <a:endParaRPr lang="da-DK" noProof="0" dirty="0"/>
          </a:p>
        </p:txBody>
      </p:sp>
      <p:sp>
        <p:nvSpPr>
          <p:cNvPr id="13" name="Content Placeholder 13">
            <a:extLst>
              <a:ext uri="{FF2B5EF4-FFF2-40B4-BE49-F238E27FC236}">
                <a16:creationId xmlns:a16="http://schemas.microsoft.com/office/drawing/2014/main" id="{7583199B-5647-449E-90B4-9FCBFAD89242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409949" y="1818000"/>
            <a:ext cx="2505076" cy="4284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tilføje tekst eller klik på tabel-/graf-/SmartArt- eller video-ikon for at indsætte objekt. For at indsætte billede, skift til layout: Fire spalter (tekst/billede)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76EEC813-1AA2-40B5-98B4-D25FA0A0A659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278400" y="1818000"/>
            <a:ext cx="2505600" cy="4284000"/>
          </a:xfrm>
        </p:spPr>
        <p:txBody>
          <a:bodyPr/>
          <a:lstStyle>
            <a:lvl1pPr marL="216000" marR="0" indent="-216000" algn="l" defTabSz="914400" rtl="0" eaLnBrk="1" fontAlgn="auto" latinLnBrk="0" hangingPunct="1">
              <a:lnSpc>
                <a:spcPct val="11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</a:lstStyle>
          <a:p>
            <a:pPr marL="216000" marR="0" lvl="0" indent="-216000" algn="l" defTabSz="914400" rtl="0" eaLnBrk="1" fontAlgn="auto" latinLnBrk="0" hangingPunct="1">
              <a:lnSpc>
                <a:spcPct val="11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 dirty="0"/>
              <a:t>Klik for at tilføje tekst eller klik på tabel-/graf-/SmartArt- eller video-ikon for at indsætte objekt. For at indsætte billede, skift til layout: Fire spalter (tekst/billede)</a:t>
            </a:r>
          </a:p>
          <a:p>
            <a:pPr lvl="0"/>
            <a:endParaRPr lang="da-DK" dirty="0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5" name="Content Placeholder 17">
            <a:extLst>
              <a:ext uri="{FF2B5EF4-FFF2-40B4-BE49-F238E27FC236}">
                <a16:creationId xmlns:a16="http://schemas.microsoft.com/office/drawing/2014/main" id="{05244590-E9D2-4C41-904B-948D1D43068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9143999" y="1818000"/>
            <a:ext cx="2506664" cy="4284000"/>
          </a:xfrm>
        </p:spPr>
        <p:txBody>
          <a:bodyPr/>
          <a:lstStyle>
            <a:lvl1pPr marL="216000" marR="0" indent="-216000" algn="l" defTabSz="914400" rtl="0" eaLnBrk="1" fontAlgn="auto" latinLnBrk="0" hangingPunct="1">
              <a:lnSpc>
                <a:spcPct val="11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</a:lstStyle>
          <a:p>
            <a:pPr marL="216000" marR="0" lvl="0" indent="-216000" algn="l" defTabSz="914400" rtl="0" eaLnBrk="1" fontAlgn="auto" latinLnBrk="0" hangingPunct="1">
              <a:lnSpc>
                <a:spcPct val="11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 dirty="0"/>
              <a:t>Klik for at tilføje tekst eller klik på tabel-/graf-/SmartArt- eller video-ikon for at indsætte objekt. For at indsætte billede, skift til layout: Fire spalter (tekst/billede)</a:t>
            </a:r>
          </a:p>
          <a:p>
            <a:pPr lvl="0"/>
            <a:endParaRPr lang="da-DK" dirty="0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F2E72B64-D55D-4FBA-AB42-4C2CA5D3CF6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8EB15F29-5F70-412E-92C2-B791C2D747B4}" type="datetime2">
              <a:rPr lang="da-DK" smtClean="0"/>
              <a:t>28. marts 2023</a:t>
            </a:fld>
            <a:endParaRPr lang="da-DK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3ACC3765-6ADF-4B65-9AFB-C50473B973C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a-DK"/>
              <a:t>Arbejdsområder og -opgaver i LEU og ASK</a:t>
            </a:r>
            <a:endParaRPr lang="da-DK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659E3BFE-B339-4298-976D-1CB2ABBC25E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a-DK" dirty="0"/>
              <a:t>Side </a:t>
            </a:r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41632675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delt vandret (tekst/billed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591138"/>
            <a:ext cx="7288213" cy="898297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>Klik for at tilføje titel</a:t>
            </a:r>
            <a:endParaRPr lang="da-DK" noProof="0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6810C78A-23C9-4426-9672-56EAFB0CECFC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539750" y="1053909"/>
            <a:ext cx="7288214" cy="435525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-DK" dirty="0"/>
              <a:t>Klik for at tilføje underoverskrift i en linj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CD6E677-EECA-480F-ADE2-F0FCF30478D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39750" y="1818000"/>
            <a:ext cx="7288213" cy="281528"/>
          </a:xfrm>
        </p:spPr>
        <p:txBody>
          <a:bodyPr/>
          <a:lstStyle>
            <a:lvl1pPr marL="0" indent="0">
              <a:buNone/>
              <a:defRPr sz="1500" b="1"/>
            </a:lvl1pPr>
            <a:lvl2pPr marL="0" indent="0">
              <a:buNone/>
              <a:defRPr sz="1500" b="1"/>
            </a:lvl2pPr>
            <a:lvl3pPr marL="0" indent="0">
              <a:buNone/>
              <a:defRPr sz="1500" b="1"/>
            </a:lvl3pPr>
            <a:lvl4pPr>
              <a:buNone/>
              <a:defRPr sz="1500" b="1"/>
            </a:lvl4pPr>
            <a:lvl5pPr>
              <a:buNone/>
              <a:defRPr sz="1500" b="1"/>
            </a:lvl5pPr>
          </a:lstStyle>
          <a:p>
            <a:pPr lvl="0"/>
            <a:r>
              <a:rPr lang="da-DK" dirty="0"/>
              <a:t>Klik for at tilføje overskrift i en linje 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quarter" idx="13" hasCustomPrompt="1"/>
          </p:nvPr>
        </p:nvSpPr>
        <p:spPr>
          <a:xfrm>
            <a:off x="539749" y="2127600"/>
            <a:ext cx="7288213" cy="172619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noProof="0" dirty="0"/>
              <a:t>Klik for at tilføje tekst</a:t>
            </a:r>
          </a:p>
          <a:p>
            <a:pPr lvl="1"/>
            <a:r>
              <a:rPr lang="da-DK" noProof="0" dirty="0"/>
              <a:t>Secon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2"/>
            <a:r>
              <a:rPr lang="da-DK" noProof="0" dirty="0"/>
              <a:t>Thir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3"/>
            <a:r>
              <a:rPr lang="da-DK" noProof="0" dirty="0" err="1"/>
              <a:t>Fourth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4"/>
            <a:r>
              <a:rPr lang="da-DK" noProof="0" dirty="0"/>
              <a:t>Fifth </a:t>
            </a:r>
            <a:r>
              <a:rPr lang="da-DK" noProof="0" dirty="0" err="1"/>
              <a:t>level</a:t>
            </a:r>
            <a:endParaRPr lang="da-DK" noProof="0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6644B7F-9548-4E80-88EF-1FF0DA0DF78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39750" y="4062920"/>
            <a:ext cx="7288213" cy="280800"/>
          </a:xfrm>
        </p:spPr>
        <p:txBody>
          <a:bodyPr/>
          <a:lstStyle>
            <a:lvl1pPr marL="0" indent="0">
              <a:buNone/>
              <a:defRPr sz="1500" b="1"/>
            </a:lvl1pPr>
            <a:lvl2pPr marL="0" indent="0">
              <a:buNone/>
              <a:defRPr sz="1500" b="1"/>
            </a:lvl2pPr>
            <a:lvl3pPr marL="0" indent="0">
              <a:buNone/>
              <a:defRPr sz="1500" b="1"/>
            </a:lvl3pPr>
            <a:lvl4pPr>
              <a:buNone/>
              <a:defRPr sz="1500" b="1"/>
            </a:lvl4pPr>
            <a:lvl5pPr>
              <a:buNone/>
              <a:defRPr sz="1500" b="1"/>
            </a:lvl5pPr>
          </a:lstStyle>
          <a:p>
            <a:pPr lvl="0"/>
            <a:r>
              <a:rPr lang="da-DK" dirty="0"/>
              <a:t>Klik for at tilføje overskrift i en linje 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0211BB3E-7AF2-4B2A-8F0D-B71E8D63B405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539750" y="4374000"/>
            <a:ext cx="7288212" cy="1726763"/>
          </a:xfrm>
          <a:solidFill>
            <a:schemeClr val="bg2"/>
          </a:solidFill>
        </p:spPr>
        <p:txBody>
          <a:bodyPr tIns="648000" anchor="ctr" anchorCtr="0"/>
          <a:lstStyle>
            <a:lvl1pPr marL="0" indent="0" algn="ctr">
              <a:buNone/>
              <a:defRPr/>
            </a:lvl1pPr>
          </a:lstStyle>
          <a:p>
            <a:r>
              <a:rPr lang="da-DK" noProof="0" dirty="0"/>
              <a:t>Klik på ikonet for at tilføje billede eller grafik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F2E72B64-D55D-4FBA-AB42-4C2CA5D3CF6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7AF9CACE-3F11-4BD7-A3D2-F48C7CD9A3E4}" type="datetime2">
              <a:rPr lang="da-DK" smtClean="0"/>
              <a:t>28. marts 2023</a:t>
            </a:fld>
            <a:endParaRPr lang="da-DK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3ACC3765-6ADF-4B65-9AFB-C50473B973C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a-DK"/>
              <a:t>Arbejdsområder og -opgaver i LEU og ASK</a:t>
            </a:r>
            <a:endParaRPr lang="da-DK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659E3BFE-B339-4298-976D-1CB2ABBC25E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a-DK" dirty="0"/>
              <a:t>Side </a:t>
            </a:r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8307797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delt vandret (tekst/graf etc.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591138"/>
            <a:ext cx="7288213" cy="898297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>Klik for at tilføje titel</a:t>
            </a:r>
            <a:endParaRPr lang="da-DK" noProof="0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6810C78A-23C9-4426-9672-56EAFB0CECFC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539750" y="1053909"/>
            <a:ext cx="7288214" cy="435525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-DK" dirty="0"/>
              <a:t>Klik for at tilføje underoverskrift i en linj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CD6E677-EECA-480F-ADE2-F0FCF30478D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39750" y="1818000"/>
            <a:ext cx="7288213" cy="281528"/>
          </a:xfrm>
        </p:spPr>
        <p:txBody>
          <a:bodyPr/>
          <a:lstStyle>
            <a:lvl1pPr marL="0" indent="0">
              <a:buNone/>
              <a:defRPr sz="1500" b="1"/>
            </a:lvl1pPr>
            <a:lvl2pPr marL="0" indent="0">
              <a:buNone/>
              <a:defRPr sz="1500" b="1"/>
            </a:lvl2pPr>
            <a:lvl3pPr marL="0" indent="0">
              <a:buNone/>
              <a:defRPr sz="1500" b="1"/>
            </a:lvl3pPr>
            <a:lvl4pPr>
              <a:buNone/>
              <a:defRPr sz="1500" b="1"/>
            </a:lvl4pPr>
            <a:lvl5pPr>
              <a:buNone/>
              <a:defRPr sz="1500" b="1"/>
            </a:lvl5pPr>
          </a:lstStyle>
          <a:p>
            <a:pPr lvl="0"/>
            <a:r>
              <a:rPr lang="da-DK" dirty="0"/>
              <a:t>Klik for at tilføje overskrift i en linje 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quarter" idx="13" hasCustomPrompt="1"/>
          </p:nvPr>
        </p:nvSpPr>
        <p:spPr>
          <a:xfrm>
            <a:off x="539749" y="2127600"/>
            <a:ext cx="7288213" cy="172619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tilføje tekst eller klik på tabel-/graf-/SmartArt- eller video-ikon for at indsætte objekt. For at indsætte billede, skift til layout: Todelt vandret (tekst/billede)</a:t>
            </a:r>
            <a:endParaRPr lang="da-DK" noProof="0" dirty="0"/>
          </a:p>
          <a:p>
            <a:pPr lvl="1"/>
            <a:r>
              <a:rPr lang="da-DK" noProof="0" dirty="0"/>
              <a:t>Secon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2"/>
            <a:r>
              <a:rPr lang="da-DK" noProof="0" dirty="0"/>
              <a:t>Thir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3"/>
            <a:r>
              <a:rPr lang="da-DK" noProof="0" dirty="0" err="1"/>
              <a:t>Fourth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4"/>
            <a:r>
              <a:rPr lang="da-DK" noProof="0" dirty="0"/>
              <a:t>Fifth </a:t>
            </a:r>
            <a:r>
              <a:rPr lang="da-DK" noProof="0" dirty="0" err="1"/>
              <a:t>level</a:t>
            </a:r>
            <a:endParaRPr lang="da-DK" noProof="0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6644B7F-9548-4E80-88EF-1FF0DA0DF78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39750" y="4062920"/>
            <a:ext cx="7288213" cy="280800"/>
          </a:xfrm>
        </p:spPr>
        <p:txBody>
          <a:bodyPr/>
          <a:lstStyle>
            <a:lvl1pPr marL="0" indent="0">
              <a:buNone/>
              <a:defRPr sz="1500" b="1"/>
            </a:lvl1pPr>
            <a:lvl2pPr marL="0" indent="0">
              <a:buNone/>
              <a:defRPr sz="1500" b="1"/>
            </a:lvl2pPr>
            <a:lvl3pPr marL="0" indent="0">
              <a:buNone/>
              <a:defRPr sz="1500" b="1"/>
            </a:lvl3pPr>
            <a:lvl4pPr>
              <a:buNone/>
              <a:defRPr sz="1500" b="1"/>
            </a:lvl4pPr>
            <a:lvl5pPr>
              <a:buNone/>
              <a:defRPr sz="1500" b="1"/>
            </a:lvl5pPr>
          </a:lstStyle>
          <a:p>
            <a:pPr lvl="0"/>
            <a:r>
              <a:rPr lang="da-DK" dirty="0"/>
              <a:t>Klik for at tilføje overskrift i en linje </a:t>
            </a:r>
          </a:p>
        </p:txBody>
      </p:sp>
      <p:sp>
        <p:nvSpPr>
          <p:cNvPr id="13" name="Content Placeholder 13">
            <a:extLst>
              <a:ext uri="{FF2B5EF4-FFF2-40B4-BE49-F238E27FC236}">
                <a16:creationId xmlns:a16="http://schemas.microsoft.com/office/drawing/2014/main" id="{7583199B-5647-449E-90B4-9FCBFAD89242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39750" y="4374000"/>
            <a:ext cx="7288213" cy="172676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tilføje tekst eller klik på tabel-/graf-/SmartArt- eller video-ikon for at indsætte objekt. For at indsætte billede, skift til layout: Todelt vandret (tekst/billede)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659E3BFE-B339-4298-976D-1CB2ABBC25E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a-DK" dirty="0"/>
              <a:t>Side </a:t>
            </a:r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F2E72B64-D55D-4FBA-AB42-4C2CA5D3CF6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DC718B4-02ED-4D9A-AAA3-1AC84DE257CF}" type="datetime2">
              <a:rPr lang="da-DK" smtClean="0"/>
              <a:t>28. marts 2023</a:t>
            </a:fld>
            <a:endParaRPr lang="da-DK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3ACC3765-6ADF-4B65-9AFB-C50473B973C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a-DK"/>
              <a:t>Arbejdsområder og -opgaver i LEU og ASK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33545217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delt (tekst/billed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591138"/>
            <a:ext cx="7288213" cy="898297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>Klik for at tilføje titel</a:t>
            </a:r>
            <a:endParaRPr lang="da-DK" noProof="0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6810C78A-23C9-4426-9672-56EAFB0CECFC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539750" y="1053909"/>
            <a:ext cx="7288214" cy="435525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-DK" dirty="0"/>
              <a:t>Klik for at tilføje underoverskrift i en linj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CD6E677-EECA-480F-ADE2-F0FCF30478D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39750" y="1818000"/>
            <a:ext cx="5375275" cy="281528"/>
          </a:xfrm>
        </p:spPr>
        <p:txBody>
          <a:bodyPr/>
          <a:lstStyle>
            <a:lvl1pPr marL="0" indent="0">
              <a:buNone/>
              <a:defRPr sz="1500" b="1"/>
            </a:lvl1pPr>
            <a:lvl2pPr marL="0" indent="0">
              <a:buNone/>
              <a:defRPr sz="1500" b="1"/>
            </a:lvl2pPr>
            <a:lvl3pPr marL="0" indent="0">
              <a:buNone/>
              <a:defRPr sz="1500" b="1"/>
            </a:lvl3pPr>
            <a:lvl4pPr>
              <a:buNone/>
              <a:defRPr sz="1500" b="1"/>
            </a:lvl4pPr>
            <a:lvl5pPr>
              <a:buNone/>
              <a:defRPr sz="1500" b="1"/>
            </a:lvl5pPr>
          </a:lstStyle>
          <a:p>
            <a:pPr lvl="0"/>
            <a:r>
              <a:rPr lang="da-DK" dirty="0"/>
              <a:t>Klik for at tilføje overskrift i en linje 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quarter" idx="13" hasCustomPrompt="1"/>
          </p:nvPr>
        </p:nvSpPr>
        <p:spPr>
          <a:xfrm>
            <a:off x="539749" y="2127600"/>
            <a:ext cx="5375275" cy="172619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noProof="0" dirty="0"/>
              <a:t>Klik for at tilføje tekst</a:t>
            </a:r>
          </a:p>
          <a:p>
            <a:pPr lvl="1"/>
            <a:r>
              <a:rPr lang="da-DK" noProof="0" dirty="0"/>
              <a:t>Secon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2"/>
            <a:r>
              <a:rPr lang="da-DK" noProof="0" dirty="0"/>
              <a:t>Thir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3"/>
            <a:r>
              <a:rPr lang="da-DK" noProof="0" dirty="0" err="1"/>
              <a:t>Fourth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4"/>
            <a:r>
              <a:rPr lang="da-DK" noProof="0" dirty="0"/>
              <a:t>Fifth </a:t>
            </a:r>
            <a:r>
              <a:rPr lang="da-DK" noProof="0" dirty="0" err="1"/>
              <a:t>level</a:t>
            </a:r>
            <a:endParaRPr lang="da-DK" noProof="0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6644B7F-9548-4E80-88EF-1FF0DA0DF78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39750" y="4062920"/>
            <a:ext cx="5375275" cy="280800"/>
          </a:xfrm>
        </p:spPr>
        <p:txBody>
          <a:bodyPr/>
          <a:lstStyle>
            <a:lvl1pPr marL="0" indent="0">
              <a:buNone/>
              <a:defRPr sz="1500" b="1"/>
            </a:lvl1pPr>
            <a:lvl2pPr marL="0" indent="0">
              <a:buNone/>
              <a:defRPr sz="1500" b="1"/>
            </a:lvl2pPr>
            <a:lvl3pPr marL="0" indent="0">
              <a:buNone/>
              <a:defRPr sz="1500" b="1"/>
            </a:lvl3pPr>
            <a:lvl4pPr>
              <a:buNone/>
              <a:defRPr sz="1500" b="1"/>
            </a:lvl4pPr>
            <a:lvl5pPr>
              <a:buNone/>
              <a:defRPr sz="1500" b="1"/>
            </a:lvl5pPr>
          </a:lstStyle>
          <a:p>
            <a:pPr lvl="0"/>
            <a:r>
              <a:rPr lang="da-DK" dirty="0"/>
              <a:t>Klik for at tilføje overskrift i en linje </a:t>
            </a:r>
          </a:p>
        </p:txBody>
      </p:sp>
      <p:sp>
        <p:nvSpPr>
          <p:cNvPr id="13" name="Content Placeholder 13">
            <a:extLst>
              <a:ext uri="{FF2B5EF4-FFF2-40B4-BE49-F238E27FC236}">
                <a16:creationId xmlns:a16="http://schemas.microsoft.com/office/drawing/2014/main" id="{7583199B-5647-449E-90B4-9FCBFAD89242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39750" y="4374000"/>
            <a:ext cx="5375275" cy="172676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tilføj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530FE3F-5282-4744-877A-A634FBB00B5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78400" y="1818000"/>
            <a:ext cx="5375274" cy="281528"/>
          </a:xfrm>
        </p:spPr>
        <p:txBody>
          <a:bodyPr/>
          <a:lstStyle>
            <a:lvl1pPr marL="0" indent="0">
              <a:buNone/>
              <a:defRPr sz="1500" b="1"/>
            </a:lvl1pPr>
            <a:lvl2pPr marL="0" indent="0">
              <a:buNone/>
              <a:defRPr sz="1500" b="1"/>
            </a:lvl2pPr>
            <a:lvl3pPr marL="0" indent="0">
              <a:buNone/>
              <a:defRPr sz="1500" b="1"/>
            </a:lvl3pPr>
            <a:lvl4pPr>
              <a:buNone/>
              <a:defRPr sz="1500" b="1"/>
            </a:lvl4pPr>
            <a:lvl5pPr>
              <a:buNone/>
              <a:defRPr sz="1500" b="1"/>
            </a:lvl5pPr>
          </a:lstStyle>
          <a:p>
            <a:pPr lvl="0"/>
            <a:r>
              <a:rPr lang="da-DK" dirty="0"/>
              <a:t>Klik for at tilføje overskrift i en linje </a:t>
            </a:r>
          </a:p>
        </p:txBody>
      </p:sp>
      <p:sp>
        <p:nvSpPr>
          <p:cNvPr id="17" name="Picture Placeholder 4">
            <a:extLst>
              <a:ext uri="{FF2B5EF4-FFF2-40B4-BE49-F238E27FC236}">
                <a16:creationId xmlns:a16="http://schemas.microsoft.com/office/drawing/2014/main" id="{08F3914E-65A0-4EF4-BC3E-05E31CBEA432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278400" y="2127600"/>
            <a:ext cx="5372263" cy="1726763"/>
          </a:xfrm>
          <a:solidFill>
            <a:schemeClr val="bg2"/>
          </a:solidFill>
        </p:spPr>
        <p:txBody>
          <a:bodyPr tIns="648000" anchor="ctr" anchorCtr="0"/>
          <a:lstStyle>
            <a:lvl1pPr marL="0" indent="0" algn="ctr">
              <a:buNone/>
              <a:defRPr/>
            </a:lvl1pPr>
          </a:lstStyle>
          <a:p>
            <a:r>
              <a:rPr lang="da-DK" noProof="0" dirty="0"/>
              <a:t>Klik på ikonet for at tilføje billede eller grafik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57BA458F-92B4-42DB-9492-D5F93E57E7C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78400" y="4062920"/>
            <a:ext cx="5354638" cy="280800"/>
          </a:xfrm>
        </p:spPr>
        <p:txBody>
          <a:bodyPr/>
          <a:lstStyle>
            <a:lvl1pPr marL="0" indent="0">
              <a:buNone/>
              <a:defRPr sz="1500" b="1"/>
            </a:lvl1pPr>
            <a:lvl2pPr marL="0" indent="0">
              <a:buNone/>
              <a:defRPr sz="1500" b="1"/>
            </a:lvl2pPr>
            <a:lvl3pPr marL="0" indent="0">
              <a:buNone/>
              <a:defRPr sz="1500" b="1"/>
            </a:lvl3pPr>
            <a:lvl4pPr>
              <a:buNone/>
              <a:defRPr sz="1500" b="1"/>
            </a:lvl4pPr>
            <a:lvl5pPr>
              <a:buNone/>
              <a:defRPr sz="1500" b="1"/>
            </a:lvl5pPr>
          </a:lstStyle>
          <a:p>
            <a:pPr lvl="0"/>
            <a:r>
              <a:rPr lang="da-DK" dirty="0"/>
              <a:t>Klik for at tilføje overskrift i en linje </a:t>
            </a:r>
          </a:p>
        </p:txBody>
      </p:sp>
      <p:sp>
        <p:nvSpPr>
          <p:cNvPr id="18" name="Picture Placeholder 4">
            <a:extLst>
              <a:ext uri="{FF2B5EF4-FFF2-40B4-BE49-F238E27FC236}">
                <a16:creationId xmlns:a16="http://schemas.microsoft.com/office/drawing/2014/main" id="{CAA627EE-4EB1-4BF9-AFE0-370BB193F2DF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6278400" y="4374000"/>
            <a:ext cx="5372263" cy="1726763"/>
          </a:xfrm>
          <a:solidFill>
            <a:schemeClr val="bg2"/>
          </a:solidFill>
        </p:spPr>
        <p:txBody>
          <a:bodyPr tIns="648000" anchor="ctr" anchorCtr="0"/>
          <a:lstStyle>
            <a:lvl1pPr marL="0" indent="0" algn="ctr">
              <a:buNone/>
              <a:defRPr/>
            </a:lvl1pPr>
          </a:lstStyle>
          <a:p>
            <a:r>
              <a:rPr lang="da-DK" noProof="0" dirty="0"/>
              <a:t>Klik på ikonet for at tilføje billede eller grafik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F2E72B64-D55D-4FBA-AB42-4C2CA5D3CF6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6C678CE9-7F1E-4D4D-9099-076C5F302E14}" type="datetime2">
              <a:rPr lang="da-DK" smtClean="0"/>
              <a:t>28. marts 2023</a:t>
            </a:fld>
            <a:endParaRPr lang="da-DK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3ACC3765-6ADF-4B65-9AFB-C50473B973C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a-DK"/>
              <a:t>Arbejdsområder og -opgaver i LEU og ASK</a:t>
            </a:r>
            <a:endParaRPr lang="da-DK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659E3BFE-B339-4298-976D-1CB2ABBC25E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a-DK" dirty="0"/>
              <a:t>Side </a:t>
            </a:r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56884171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delt (tekst/grafer etc.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591138"/>
            <a:ext cx="7288213" cy="898297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>Klik for at tilføje titel</a:t>
            </a:r>
            <a:endParaRPr lang="da-DK" noProof="0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6810C78A-23C9-4426-9672-56EAFB0CECFC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539750" y="1053909"/>
            <a:ext cx="7288214" cy="435525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-DK" dirty="0"/>
              <a:t>Klik for at tilføje underoverskrift i en linj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CD6E677-EECA-480F-ADE2-F0FCF30478D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39750" y="1818000"/>
            <a:ext cx="5375275" cy="281528"/>
          </a:xfrm>
        </p:spPr>
        <p:txBody>
          <a:bodyPr/>
          <a:lstStyle>
            <a:lvl1pPr marL="0" indent="0">
              <a:buNone/>
              <a:defRPr sz="1500" b="1"/>
            </a:lvl1pPr>
            <a:lvl2pPr marL="0" indent="0">
              <a:buNone/>
              <a:defRPr sz="1500" b="1"/>
            </a:lvl2pPr>
            <a:lvl3pPr marL="0" indent="0">
              <a:buNone/>
              <a:defRPr sz="1500" b="1"/>
            </a:lvl3pPr>
            <a:lvl4pPr>
              <a:buNone/>
              <a:defRPr sz="1500" b="1"/>
            </a:lvl4pPr>
            <a:lvl5pPr>
              <a:buNone/>
              <a:defRPr sz="1500" b="1"/>
            </a:lvl5pPr>
          </a:lstStyle>
          <a:p>
            <a:pPr lvl="0"/>
            <a:r>
              <a:rPr lang="da-DK" dirty="0"/>
              <a:t>Klik for at tilføje overskrift i en linje 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quarter" idx="13" hasCustomPrompt="1"/>
          </p:nvPr>
        </p:nvSpPr>
        <p:spPr>
          <a:xfrm>
            <a:off x="539749" y="2127600"/>
            <a:ext cx="5375275" cy="172619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tilføje tekst eller klik på tabel-/graf-/SmartArt- eller video-ikon for at indsætte objekt. For at indsætte billede, skift til layout: Firdelt (tekst/billede)</a:t>
            </a:r>
            <a:endParaRPr lang="da-DK" noProof="0" dirty="0"/>
          </a:p>
          <a:p>
            <a:pPr lvl="1"/>
            <a:r>
              <a:rPr lang="da-DK" noProof="0" dirty="0"/>
              <a:t>Secon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2"/>
            <a:r>
              <a:rPr lang="da-DK" noProof="0" dirty="0"/>
              <a:t>Thir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3"/>
            <a:r>
              <a:rPr lang="da-DK" noProof="0" dirty="0" err="1"/>
              <a:t>Fourth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4"/>
            <a:r>
              <a:rPr lang="da-DK" noProof="0" dirty="0"/>
              <a:t>Fifth </a:t>
            </a:r>
            <a:r>
              <a:rPr lang="da-DK" noProof="0" dirty="0" err="1"/>
              <a:t>level</a:t>
            </a:r>
            <a:endParaRPr lang="da-DK" noProof="0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6644B7F-9548-4E80-88EF-1FF0DA0DF78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39750" y="4062920"/>
            <a:ext cx="5375275" cy="280800"/>
          </a:xfrm>
        </p:spPr>
        <p:txBody>
          <a:bodyPr/>
          <a:lstStyle>
            <a:lvl1pPr marL="0" indent="0">
              <a:buNone/>
              <a:defRPr sz="1500" b="1"/>
            </a:lvl1pPr>
            <a:lvl2pPr marL="0" indent="0">
              <a:buNone/>
              <a:defRPr sz="1500" b="1"/>
            </a:lvl2pPr>
            <a:lvl3pPr marL="0" indent="0">
              <a:buNone/>
              <a:defRPr sz="1500" b="1"/>
            </a:lvl3pPr>
            <a:lvl4pPr>
              <a:buNone/>
              <a:defRPr sz="1500" b="1"/>
            </a:lvl4pPr>
            <a:lvl5pPr>
              <a:buNone/>
              <a:defRPr sz="1500" b="1"/>
            </a:lvl5pPr>
          </a:lstStyle>
          <a:p>
            <a:pPr lvl="0"/>
            <a:r>
              <a:rPr lang="da-DK" dirty="0"/>
              <a:t>Klik for at tilføje overskrift i en linje </a:t>
            </a:r>
          </a:p>
        </p:txBody>
      </p:sp>
      <p:sp>
        <p:nvSpPr>
          <p:cNvPr id="13" name="Content Placeholder 13">
            <a:extLst>
              <a:ext uri="{FF2B5EF4-FFF2-40B4-BE49-F238E27FC236}">
                <a16:creationId xmlns:a16="http://schemas.microsoft.com/office/drawing/2014/main" id="{7583199B-5647-449E-90B4-9FCBFAD89242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39750" y="4374000"/>
            <a:ext cx="5375275" cy="172676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tilføje tekst eller klik på tabel-/graf-/SmartArt- eller video-ikon for at indsætte objekt. For at indsætte billede, skift til layout: Firdelt (tekst/billede)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530FE3F-5282-4744-877A-A634FBB00B5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78400" y="1818000"/>
            <a:ext cx="5375274" cy="281528"/>
          </a:xfrm>
        </p:spPr>
        <p:txBody>
          <a:bodyPr/>
          <a:lstStyle>
            <a:lvl1pPr marL="0" indent="0">
              <a:buNone/>
              <a:defRPr sz="1500" b="1"/>
            </a:lvl1pPr>
            <a:lvl2pPr marL="0" indent="0">
              <a:buNone/>
              <a:defRPr sz="1500" b="1"/>
            </a:lvl2pPr>
            <a:lvl3pPr marL="0" indent="0">
              <a:buNone/>
              <a:defRPr sz="1500" b="1"/>
            </a:lvl3pPr>
            <a:lvl4pPr>
              <a:buNone/>
              <a:defRPr sz="1500" b="1"/>
            </a:lvl4pPr>
            <a:lvl5pPr>
              <a:buNone/>
              <a:defRPr sz="1500" b="1"/>
            </a:lvl5pPr>
          </a:lstStyle>
          <a:p>
            <a:pPr lvl="0"/>
            <a:r>
              <a:rPr lang="da-DK" dirty="0"/>
              <a:t>Klik for at tilføje overskrift i en linje </a:t>
            </a:r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76EEC813-1AA2-40B5-98B4-D25FA0A0A659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278400" y="2127600"/>
            <a:ext cx="5375275" cy="172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tilføje tekst eller klik på tabel-/graf-/SmartArt- eller video-ikon for at indsætte objekt. For at indsætte billede, skift til layout: Firdelt (tekst/billede)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57BA458F-92B4-42DB-9492-D5F93E57E7C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78400" y="4062920"/>
            <a:ext cx="5354638" cy="280800"/>
          </a:xfrm>
        </p:spPr>
        <p:txBody>
          <a:bodyPr/>
          <a:lstStyle>
            <a:lvl1pPr marL="0" indent="0">
              <a:buNone/>
              <a:defRPr sz="1500" b="1"/>
            </a:lvl1pPr>
            <a:lvl2pPr marL="0" indent="0">
              <a:buNone/>
              <a:defRPr sz="1500" b="1"/>
            </a:lvl2pPr>
            <a:lvl3pPr marL="0" indent="0">
              <a:buNone/>
              <a:defRPr sz="1500" b="1"/>
            </a:lvl3pPr>
            <a:lvl4pPr>
              <a:buNone/>
              <a:defRPr sz="1500" b="1"/>
            </a:lvl4pPr>
            <a:lvl5pPr>
              <a:buNone/>
              <a:defRPr sz="1500" b="1"/>
            </a:lvl5pPr>
          </a:lstStyle>
          <a:p>
            <a:pPr lvl="0"/>
            <a:r>
              <a:rPr lang="da-DK" dirty="0"/>
              <a:t>Klik for at tilføje overskrift i en linje </a:t>
            </a:r>
          </a:p>
        </p:txBody>
      </p:sp>
      <p:sp>
        <p:nvSpPr>
          <p:cNvPr id="15" name="Content Placeholder 17">
            <a:extLst>
              <a:ext uri="{FF2B5EF4-FFF2-40B4-BE49-F238E27FC236}">
                <a16:creationId xmlns:a16="http://schemas.microsoft.com/office/drawing/2014/main" id="{05244590-E9D2-4C41-904B-948D1D43068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278400" y="4374000"/>
            <a:ext cx="5375276" cy="172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tilføje tekst eller klik på tabel-/graf-/SmartArt- eller video-ikon for at indsætte objekt. For at indsætte billede, skift til layout: Firdelt (tekst/billede)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F2E72B64-D55D-4FBA-AB42-4C2CA5D3CF6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A9598B84-E88C-493A-B3B0-9AB8B05FD51E}" type="datetime2">
              <a:rPr lang="da-DK" smtClean="0"/>
              <a:t>28. marts 2023</a:t>
            </a:fld>
            <a:endParaRPr lang="da-DK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3ACC3765-6ADF-4B65-9AFB-C50473B973C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a-DK"/>
              <a:t>Arbejdsområder og -opgaver i LEU og ASK</a:t>
            </a:r>
            <a:endParaRPr lang="da-DK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659E3BFE-B339-4298-976D-1CB2ABBC25E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a-DK" dirty="0"/>
              <a:t>Side </a:t>
            </a:r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06845986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 (sidefo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BAAFAF0F-3659-4911-B7AE-77656B8BE3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7B628D-A6DA-4CE0-8063-8E47E1683878}" type="datetime2">
              <a:rPr lang="da-DK" smtClean="0"/>
              <a:t>28. marts 2023</a:t>
            </a:fld>
            <a:endParaRPr lang="da-DK" dirty="0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DC16EBAB-7232-47BA-835B-C36905EFBD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Arbejdsområder og -opgaver i LEU og ASK</a:t>
            </a:r>
            <a:endParaRPr lang="da-DK" dirty="0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19256C37-8FF7-4672-A8A4-7670C8BA3B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a-DK" dirty="0"/>
              <a:t>Side </a:t>
            </a:r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8439488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uger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C:\Users\MTC\AppData\Local\Temp\SNAGHTML8bdd87d.PNG">
            <a:extLst>
              <a:ext uri="{FF2B5EF4-FFF2-40B4-BE49-F238E27FC236}">
                <a16:creationId xmlns:a16="http://schemas.microsoft.com/office/drawing/2014/main" id="{629DC095-C097-45E6-BE9C-B70B4282566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05929" y="1871662"/>
            <a:ext cx="2836099" cy="14151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ast overskrift"/>
          <p:cNvSpPr txBox="1"/>
          <p:nvPr userDrawn="1"/>
        </p:nvSpPr>
        <p:spPr>
          <a:xfrm>
            <a:off x="539748" y="539750"/>
            <a:ext cx="11109325" cy="65017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da-DK" sz="32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erguide</a:t>
            </a:r>
          </a:p>
        </p:txBody>
      </p:sp>
      <p:sp>
        <p:nvSpPr>
          <p:cNvPr id="29" name="Text Box 2"/>
          <p:cNvSpPr txBox="1">
            <a:spLocks noChangeArrowheads="1"/>
          </p:cNvSpPr>
          <p:nvPr userDrawn="1"/>
        </p:nvSpPr>
        <p:spPr bwMode="auto">
          <a:xfrm>
            <a:off x="539752" y="1815926"/>
            <a:ext cx="1938706" cy="30315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800"/>
              </a:spcAft>
              <a:defRPr/>
            </a:pPr>
            <a:r>
              <a:rPr lang="da-DK" sz="1100" b="1" noProof="1">
                <a:latin typeface="Arial" panose="020B0604020202020204" pitchFamily="34" charset="0"/>
                <a:cs typeface="Arial" panose="020B0604020202020204" pitchFamily="34" charset="0"/>
              </a:rPr>
              <a:t>Ny side</a:t>
            </a:r>
          </a:p>
          <a:p>
            <a:pPr>
              <a:spcAft>
                <a:spcPts val="800"/>
              </a:spcAft>
            </a:pPr>
            <a:r>
              <a:rPr lang="da-DK" sz="1000" b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Ny slide: </a:t>
            </a:r>
            <a:r>
              <a:rPr lang="da-DK" sz="10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klik på </a:t>
            </a:r>
            <a:r>
              <a:rPr lang="da-DK" sz="1000" b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Ny slide</a:t>
            </a:r>
            <a:r>
              <a:rPr lang="da-DK" sz="10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for at få samme layout som den foregående.</a:t>
            </a:r>
          </a:p>
          <a:p>
            <a:pPr>
              <a:spcAft>
                <a:spcPts val="800"/>
              </a:spcAft>
            </a:pPr>
            <a:r>
              <a:rPr lang="da-DK" sz="1000" b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Layout: </a:t>
            </a:r>
            <a:r>
              <a:rPr lang="da-DK" sz="10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klik på </a:t>
            </a:r>
            <a:r>
              <a:rPr lang="da-DK" sz="1000" b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Layout</a:t>
            </a:r>
            <a:r>
              <a:rPr lang="da-DK" sz="10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for at vælge et andet layout.</a:t>
            </a:r>
            <a:endParaRPr lang="da-DK" sz="900" dirty="0"/>
          </a:p>
          <a:p>
            <a:pPr eaLnBrk="1" hangingPunct="1">
              <a:spcAft>
                <a:spcPts val="600"/>
              </a:spcAft>
              <a:defRPr/>
            </a:pPr>
            <a:endParaRPr lang="da-DK" sz="1000" b="1" noProof="1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800"/>
              </a:spcAft>
              <a:defRPr/>
            </a:pPr>
            <a:r>
              <a:rPr lang="da-DK" sz="1100" b="1" baseline="0" noProof="1">
                <a:latin typeface="Arial" panose="020B0604020202020204" pitchFamily="34" charset="0"/>
                <a:cs typeface="Arial" panose="020B0604020202020204" pitchFamily="34" charset="0"/>
              </a:rPr>
              <a:t>Tekst</a:t>
            </a:r>
            <a:endParaRPr lang="da-DK" sz="1100" b="1" noProof="1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Aft>
                <a:spcPts val="800"/>
              </a:spcAft>
            </a:pPr>
            <a:r>
              <a:rPr lang="da-DK" sz="10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Brug </a:t>
            </a:r>
            <a:r>
              <a:rPr lang="da-DK" sz="1000" b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TAB</a:t>
            </a:r>
            <a:r>
              <a:rPr lang="da-DK" sz="10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for at gå frem i </a:t>
            </a:r>
            <a:r>
              <a:rPr lang="da-DK" sz="1000" kern="1200" dirty="0" err="1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tekstniveauer</a:t>
            </a:r>
            <a:r>
              <a:rPr lang="da-DK" sz="10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.</a:t>
            </a:r>
          </a:p>
          <a:p>
            <a:pPr>
              <a:spcAft>
                <a:spcPts val="800"/>
              </a:spcAft>
            </a:pPr>
            <a:r>
              <a:rPr lang="da-DK" sz="10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Brug </a:t>
            </a:r>
            <a:r>
              <a:rPr lang="da-DK" sz="1000" b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SHIFT+TAB</a:t>
            </a:r>
            <a:r>
              <a:rPr lang="da-DK" sz="10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for at gå tilbage i </a:t>
            </a:r>
            <a:r>
              <a:rPr lang="da-DK" sz="1000" kern="1200" dirty="0" err="1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tekstniveauer</a:t>
            </a:r>
            <a:r>
              <a:rPr lang="da-DK" sz="10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.</a:t>
            </a:r>
          </a:p>
          <a:p>
            <a:pPr>
              <a:spcAft>
                <a:spcPts val="800"/>
              </a:spcAft>
            </a:pPr>
            <a:r>
              <a:rPr lang="da-DK" sz="1000" b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Forøg </a:t>
            </a:r>
            <a:r>
              <a:rPr lang="da-DK" sz="10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og </a:t>
            </a:r>
            <a:r>
              <a:rPr lang="da-DK" sz="1000" b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Formindsk </a:t>
            </a:r>
            <a:r>
              <a:rPr lang="da-DK" sz="10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listeniveau kan bruges som alternativ.</a:t>
            </a:r>
          </a:p>
        </p:txBody>
      </p:sp>
      <p:sp>
        <p:nvSpPr>
          <p:cNvPr id="21" name="Text Box 3"/>
          <p:cNvSpPr txBox="1">
            <a:spLocks noChangeArrowheads="1"/>
          </p:cNvSpPr>
          <p:nvPr userDrawn="1"/>
        </p:nvSpPr>
        <p:spPr bwMode="auto">
          <a:xfrm>
            <a:off x="3806721" y="1815926"/>
            <a:ext cx="2332044" cy="46422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800"/>
              </a:spcAft>
              <a:defRPr/>
            </a:pPr>
            <a:r>
              <a:rPr lang="da-DK" sz="11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lleder og grafik</a:t>
            </a:r>
          </a:p>
          <a:p>
            <a:pPr>
              <a:spcAft>
                <a:spcPts val="800"/>
              </a:spcAft>
            </a:pPr>
            <a:r>
              <a:rPr lang="da-DK" sz="10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Du kan indsætte billeder og grafikker for at gøre din præsentation inspirerende.  </a:t>
            </a:r>
          </a:p>
          <a:p>
            <a:pPr>
              <a:spcAft>
                <a:spcPts val="1600"/>
              </a:spcAft>
            </a:pPr>
            <a:r>
              <a:rPr lang="da-DK" sz="10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Områder til billeder/grafikker er markeret med en sandfarvet baggrund (billedpladsholder).</a:t>
            </a:r>
          </a:p>
          <a:p>
            <a:pPr>
              <a:spcAft>
                <a:spcPts val="800"/>
              </a:spcAft>
            </a:pPr>
            <a:r>
              <a:rPr lang="da-DK" sz="1000" b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Indsæt billede:</a:t>
            </a:r>
            <a:r>
              <a:rPr lang="da-DK" sz="10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Klik på </a:t>
            </a:r>
            <a:r>
              <a:rPr lang="da-DK" sz="1000" b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Billedikonet</a:t>
            </a:r>
            <a:r>
              <a:rPr lang="da-DK" sz="10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og indsæt et billede eller en grafik. </a:t>
            </a:r>
          </a:p>
          <a:p>
            <a:pPr>
              <a:spcAft>
                <a:spcPts val="800"/>
              </a:spcAft>
            </a:pPr>
            <a:r>
              <a:rPr lang="da-DK" sz="1000" b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Beskær billede: </a:t>
            </a:r>
            <a:r>
              <a:rPr lang="da-DK" sz="10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Marker billedet, højreklik og vælg </a:t>
            </a:r>
            <a:r>
              <a:rPr lang="da-DK" sz="1000" b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Beskær</a:t>
            </a:r>
            <a:r>
              <a:rPr lang="da-DK" sz="10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. </a:t>
            </a:r>
          </a:p>
          <a:p>
            <a:pPr>
              <a:spcAft>
                <a:spcPts val="800"/>
              </a:spcAft>
            </a:pPr>
            <a:r>
              <a:rPr lang="da-DK" sz="1000" b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Skaler billede</a:t>
            </a:r>
            <a:r>
              <a:rPr lang="da-DK" sz="10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: Marker billedet, højreklik og vælg </a:t>
            </a:r>
            <a:r>
              <a:rPr lang="da-DK" sz="1000" b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Beskær</a:t>
            </a:r>
            <a:r>
              <a:rPr lang="da-DK" sz="10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, hold </a:t>
            </a:r>
            <a:r>
              <a:rPr lang="da-DK" sz="1000" b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SHIFT</a:t>
            </a:r>
            <a:r>
              <a:rPr lang="da-DK" sz="10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nede mens du trækker i billedets hjørner.</a:t>
            </a:r>
          </a:p>
          <a:p>
            <a:pPr>
              <a:spcAft>
                <a:spcPts val="800"/>
              </a:spcAft>
            </a:pPr>
            <a:r>
              <a:rPr lang="da-DK" sz="1000" b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Nulstil</a:t>
            </a:r>
            <a:r>
              <a:rPr lang="da-DK" sz="10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: Klik på </a:t>
            </a:r>
            <a:r>
              <a:rPr lang="da-DK" sz="1000" b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Nulstil </a:t>
            </a:r>
            <a:r>
              <a:rPr lang="da-DK" sz="10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for at nulstille placering, størrelse og formatering af pladsholdere til layoutets oprindelige design.</a:t>
            </a:r>
          </a:p>
          <a:p>
            <a:pPr>
              <a:spcAft>
                <a:spcPts val="800"/>
              </a:spcAft>
            </a:pPr>
            <a:r>
              <a:rPr lang="da-DK" sz="1000" b="1" i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Tip: </a:t>
            </a:r>
            <a:r>
              <a:rPr lang="da-DK" sz="1000" i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Hvis du sletter billedet og indsætter et nyt, kan billedet lægge sig foran tekst og grafik. Højreklik på billedet og vælg </a:t>
            </a:r>
            <a:r>
              <a:rPr lang="da-DK" sz="1000" b="1" i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Placer bagerst.</a:t>
            </a:r>
            <a:endParaRPr lang="da-DK" sz="1000" kern="1200" dirty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da-DK" alt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Text Box 4"/>
          <p:cNvSpPr txBox="1">
            <a:spLocks noChangeArrowheads="1"/>
          </p:cNvSpPr>
          <p:nvPr userDrawn="1"/>
        </p:nvSpPr>
        <p:spPr bwMode="auto">
          <a:xfrm>
            <a:off x="9739312" y="1815926"/>
            <a:ext cx="1911351" cy="2800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Aft>
                <a:spcPts val="800"/>
              </a:spcAft>
            </a:pPr>
            <a:r>
              <a:rPr lang="da-DK" sz="1100" b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Sidefod </a:t>
            </a:r>
            <a:endParaRPr lang="da-DK" sz="1100" kern="1200" dirty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  <a:p>
            <a:pPr>
              <a:spcAft>
                <a:spcPts val="800"/>
              </a:spcAft>
            </a:pPr>
            <a:r>
              <a:rPr lang="da-DK" sz="10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Stå i </a:t>
            </a:r>
            <a:r>
              <a:rPr lang="da-DK" sz="1000" b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Sidefoden</a:t>
            </a:r>
            <a:r>
              <a:rPr lang="da-DK" sz="10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på side 2. </a:t>
            </a:r>
            <a:br>
              <a:rPr lang="da-DK" sz="10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</a:br>
            <a:r>
              <a:rPr lang="da-DK" sz="10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I fanen </a:t>
            </a:r>
            <a:r>
              <a:rPr lang="da-DK" sz="1000" b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INDSÆT </a:t>
            </a:r>
            <a:r>
              <a:rPr lang="da-DK" sz="10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vælger du </a:t>
            </a:r>
            <a:r>
              <a:rPr lang="da-DK" sz="1000" b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Sidehoved og sidefod </a:t>
            </a:r>
            <a:r>
              <a:rPr lang="da-DK" sz="10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og indtaster din tekst.</a:t>
            </a:r>
            <a:r>
              <a:rPr lang="da-DK" sz="1000" b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</a:t>
            </a:r>
            <a:endParaRPr lang="da-DK" sz="1000" kern="1200" dirty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  <a:p>
            <a:pPr>
              <a:spcAft>
                <a:spcPts val="800"/>
              </a:spcAft>
            </a:pPr>
            <a:r>
              <a:rPr lang="da-DK" sz="10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Vælg </a:t>
            </a:r>
            <a:r>
              <a:rPr lang="da-DK" sz="1000" b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Anvend,</a:t>
            </a:r>
            <a:r>
              <a:rPr lang="da-DK" sz="10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hvis det kun skal være på et enkelt slide, eller </a:t>
            </a:r>
            <a:r>
              <a:rPr lang="da-DK" sz="1000" b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Anvend på alle.</a:t>
            </a:r>
            <a:endParaRPr lang="da-DK" sz="1000" kern="1200" dirty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  <a:p>
            <a:pPr>
              <a:spcAft>
                <a:spcPts val="800"/>
              </a:spcAft>
            </a:pPr>
            <a:r>
              <a:rPr lang="da-DK" sz="1000" b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 </a:t>
            </a:r>
            <a:endParaRPr lang="da-DK" sz="1000" kern="1200" dirty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  <a:p>
            <a:pPr>
              <a:spcAft>
                <a:spcPts val="800"/>
              </a:spcAft>
            </a:pPr>
            <a:r>
              <a:rPr lang="da-DK" sz="1100" b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Hjælpelinjer</a:t>
            </a:r>
            <a:endParaRPr lang="da-DK" sz="1100" kern="1200" dirty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  <a:p>
            <a:pPr>
              <a:spcAft>
                <a:spcPts val="800"/>
              </a:spcAft>
            </a:pPr>
            <a:r>
              <a:rPr lang="da-DK" sz="1000" b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Vis hjælpelinjer </a:t>
            </a:r>
            <a:r>
              <a:rPr lang="da-DK" sz="10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ved at klikke på fanen</a:t>
            </a:r>
            <a:r>
              <a:rPr lang="da-DK" sz="1000" b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Vis </a:t>
            </a:r>
            <a:r>
              <a:rPr lang="da-DK" sz="10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og sæt hak ved</a:t>
            </a:r>
            <a:r>
              <a:rPr lang="da-DK" sz="1000" b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Hjælpelinjer </a:t>
            </a:r>
            <a:r>
              <a:rPr lang="da-DK" sz="10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(Alt + F9)</a:t>
            </a:r>
          </a:p>
          <a:p>
            <a:pPr algn="l">
              <a:lnSpc>
                <a:spcPct val="111000"/>
              </a:lnSpc>
              <a:spcAft>
                <a:spcPts val="800"/>
              </a:spcAft>
            </a:pPr>
            <a:endParaRPr lang="da-DK" sz="900" dirty="0" err="1"/>
          </a:p>
        </p:txBody>
      </p:sp>
      <p:pic>
        <p:nvPicPr>
          <p:cNvPr id="28" name="1 Forøg formindsk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367657" y="4307262"/>
            <a:ext cx="549328" cy="285228"/>
          </a:xfrm>
          <a:prstGeom prst="rect">
            <a:avLst/>
          </a:prstGeom>
        </p:spPr>
      </p:pic>
      <p:pic>
        <p:nvPicPr>
          <p:cNvPr id="20" name="2 Ny slide"/>
          <p:cNvPicPr>
            <a:picLocks noChangeAspect="1"/>
          </p:cNvPicPr>
          <p:nvPr userDrawn="1"/>
        </p:nvPicPr>
        <p:blipFill rotWithShape="1">
          <a:blip r:embed="rId4"/>
          <a:srcRect l="2931" r="60888"/>
          <a:stretch/>
        </p:blipFill>
        <p:spPr>
          <a:xfrm>
            <a:off x="2381576" y="1929903"/>
            <a:ext cx="363713" cy="647461"/>
          </a:xfrm>
          <a:prstGeom prst="rect">
            <a:avLst/>
          </a:prstGeom>
        </p:spPr>
      </p:pic>
      <p:pic>
        <p:nvPicPr>
          <p:cNvPr id="16" name="3 Layout"/>
          <p:cNvPicPr>
            <a:picLocks noChangeAspect="1"/>
          </p:cNvPicPr>
          <p:nvPr userDrawn="1"/>
        </p:nvPicPr>
        <p:blipFill rotWithShape="1">
          <a:blip r:embed="rId4"/>
          <a:srcRect l="36944" r="2272" b="69429"/>
          <a:stretch/>
        </p:blipFill>
        <p:spPr>
          <a:xfrm>
            <a:off x="2397041" y="2618685"/>
            <a:ext cx="593368" cy="192211"/>
          </a:xfrm>
          <a:prstGeom prst="rect">
            <a:avLst/>
          </a:prstGeom>
        </p:spPr>
      </p:pic>
      <p:pic>
        <p:nvPicPr>
          <p:cNvPr id="24" name="4 Nulstil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045392" y="4670047"/>
            <a:ext cx="547241" cy="197798"/>
          </a:xfrm>
          <a:prstGeom prst="rect">
            <a:avLst/>
          </a:prstGeom>
        </p:spPr>
      </p:pic>
      <p:pic>
        <p:nvPicPr>
          <p:cNvPr id="5" name="5 Indsæt billede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084026" y="3317346"/>
            <a:ext cx="262151" cy="256054"/>
          </a:xfrm>
          <a:prstGeom prst="rect">
            <a:avLst/>
          </a:prstGeom>
        </p:spPr>
      </p:pic>
      <p:pic>
        <p:nvPicPr>
          <p:cNvPr id="23" name="6 Beskær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6052840" y="3649901"/>
            <a:ext cx="337400" cy="321707"/>
          </a:xfrm>
          <a:prstGeom prst="rect">
            <a:avLst/>
          </a:prstGeom>
        </p:spPr>
      </p:pic>
      <p:pic>
        <p:nvPicPr>
          <p:cNvPr id="2" name="7 Skalér billede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6045392" y="4029366"/>
            <a:ext cx="359695" cy="335309"/>
          </a:xfrm>
          <a:prstGeom prst="rect">
            <a:avLst/>
          </a:prstGeom>
        </p:spPr>
      </p:pic>
      <p:cxnSp>
        <p:nvCxnSpPr>
          <p:cNvPr id="6" name="Lige pilforbindelse 5">
            <a:extLst>
              <a:ext uri="{FF2B5EF4-FFF2-40B4-BE49-F238E27FC236}">
                <a16:creationId xmlns:a16="http://schemas.microsoft.com/office/drawing/2014/main" id="{B993A677-C71F-4FE6-8F5E-6498BF741617}"/>
              </a:ext>
            </a:extLst>
          </p:cNvPr>
          <p:cNvCxnSpPr>
            <a:cxnSpLocks/>
          </p:cNvCxnSpPr>
          <p:nvPr userDrawn="1"/>
        </p:nvCxnSpPr>
        <p:spPr>
          <a:xfrm>
            <a:off x="6915493" y="1902057"/>
            <a:ext cx="0" cy="227046"/>
          </a:xfrm>
          <a:prstGeom prst="straightConnector1">
            <a:avLst/>
          </a:prstGeom>
          <a:ln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Lige pilforbindelse 18">
            <a:extLst>
              <a:ext uri="{FF2B5EF4-FFF2-40B4-BE49-F238E27FC236}">
                <a16:creationId xmlns:a16="http://schemas.microsoft.com/office/drawing/2014/main" id="{95066BFE-10EF-4E59-AB3D-04DDE8A2F1B1}"/>
              </a:ext>
            </a:extLst>
          </p:cNvPr>
          <p:cNvCxnSpPr>
            <a:cxnSpLocks/>
          </p:cNvCxnSpPr>
          <p:nvPr userDrawn="1"/>
        </p:nvCxnSpPr>
        <p:spPr>
          <a:xfrm>
            <a:off x="7818626" y="1902057"/>
            <a:ext cx="0" cy="227046"/>
          </a:xfrm>
          <a:prstGeom prst="straightConnector1">
            <a:avLst/>
          </a:prstGeom>
          <a:ln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Lige pilforbindelse 21">
            <a:extLst>
              <a:ext uri="{FF2B5EF4-FFF2-40B4-BE49-F238E27FC236}">
                <a16:creationId xmlns:a16="http://schemas.microsoft.com/office/drawing/2014/main" id="{9785DA56-0E6A-444E-9932-ABE9D4F72C4D}"/>
              </a:ext>
            </a:extLst>
          </p:cNvPr>
          <p:cNvCxnSpPr>
            <a:cxnSpLocks/>
          </p:cNvCxnSpPr>
          <p:nvPr userDrawn="1"/>
        </p:nvCxnSpPr>
        <p:spPr>
          <a:xfrm>
            <a:off x="8739549" y="1902057"/>
            <a:ext cx="0" cy="227046"/>
          </a:xfrm>
          <a:prstGeom prst="straightConnector1">
            <a:avLst/>
          </a:prstGeom>
          <a:ln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Lige pilforbindelse 25">
            <a:extLst>
              <a:ext uri="{FF2B5EF4-FFF2-40B4-BE49-F238E27FC236}">
                <a16:creationId xmlns:a16="http://schemas.microsoft.com/office/drawing/2014/main" id="{7E65C202-D407-445A-8531-E05CC8E877AF}"/>
              </a:ext>
            </a:extLst>
          </p:cNvPr>
          <p:cNvCxnSpPr>
            <a:cxnSpLocks/>
          </p:cNvCxnSpPr>
          <p:nvPr userDrawn="1"/>
        </p:nvCxnSpPr>
        <p:spPr>
          <a:xfrm>
            <a:off x="6915493" y="2476211"/>
            <a:ext cx="0" cy="95780"/>
          </a:xfrm>
          <a:prstGeom prst="straightConnector1">
            <a:avLst/>
          </a:prstGeom>
          <a:ln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Lige pilforbindelse 26">
            <a:extLst>
              <a:ext uri="{FF2B5EF4-FFF2-40B4-BE49-F238E27FC236}">
                <a16:creationId xmlns:a16="http://schemas.microsoft.com/office/drawing/2014/main" id="{1D516ECC-7646-4319-BDED-DD556001281E}"/>
              </a:ext>
            </a:extLst>
          </p:cNvPr>
          <p:cNvCxnSpPr>
            <a:cxnSpLocks/>
          </p:cNvCxnSpPr>
          <p:nvPr userDrawn="1"/>
        </p:nvCxnSpPr>
        <p:spPr>
          <a:xfrm>
            <a:off x="7842817" y="2483468"/>
            <a:ext cx="0" cy="95780"/>
          </a:xfrm>
          <a:prstGeom prst="straightConnector1">
            <a:avLst/>
          </a:prstGeom>
          <a:ln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Lige pilforbindelse 29">
            <a:extLst>
              <a:ext uri="{FF2B5EF4-FFF2-40B4-BE49-F238E27FC236}">
                <a16:creationId xmlns:a16="http://schemas.microsoft.com/office/drawing/2014/main" id="{8F119DCA-BB53-41D5-9B48-4BB7A8093D2E}"/>
              </a:ext>
            </a:extLst>
          </p:cNvPr>
          <p:cNvCxnSpPr>
            <a:cxnSpLocks/>
          </p:cNvCxnSpPr>
          <p:nvPr userDrawn="1"/>
        </p:nvCxnSpPr>
        <p:spPr>
          <a:xfrm>
            <a:off x="8792918" y="2476211"/>
            <a:ext cx="0" cy="95780"/>
          </a:xfrm>
          <a:prstGeom prst="straightConnector1">
            <a:avLst/>
          </a:prstGeom>
          <a:ln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Lige pilforbindelse 30">
            <a:extLst>
              <a:ext uri="{FF2B5EF4-FFF2-40B4-BE49-F238E27FC236}">
                <a16:creationId xmlns:a16="http://schemas.microsoft.com/office/drawing/2014/main" id="{F1A751EC-45C7-459D-854F-6D57E3A3FD98}"/>
              </a:ext>
            </a:extLst>
          </p:cNvPr>
          <p:cNvCxnSpPr>
            <a:cxnSpLocks/>
          </p:cNvCxnSpPr>
          <p:nvPr userDrawn="1"/>
        </p:nvCxnSpPr>
        <p:spPr>
          <a:xfrm>
            <a:off x="8578847" y="2476211"/>
            <a:ext cx="0" cy="95780"/>
          </a:xfrm>
          <a:prstGeom prst="straightConnector1">
            <a:avLst/>
          </a:prstGeom>
          <a:ln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Lige pilforbindelse 45">
            <a:extLst>
              <a:ext uri="{FF2B5EF4-FFF2-40B4-BE49-F238E27FC236}">
                <a16:creationId xmlns:a16="http://schemas.microsoft.com/office/drawing/2014/main" id="{1010CD1B-1ECA-4F05-97FF-4ED54248EF36}"/>
              </a:ext>
            </a:extLst>
          </p:cNvPr>
          <p:cNvCxnSpPr>
            <a:cxnSpLocks/>
          </p:cNvCxnSpPr>
          <p:nvPr userDrawn="1"/>
        </p:nvCxnSpPr>
        <p:spPr>
          <a:xfrm>
            <a:off x="7709769" y="2476211"/>
            <a:ext cx="0" cy="95780"/>
          </a:xfrm>
          <a:prstGeom prst="straightConnector1">
            <a:avLst/>
          </a:prstGeom>
          <a:ln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Lige pilforbindelse 46">
            <a:extLst>
              <a:ext uri="{FF2B5EF4-FFF2-40B4-BE49-F238E27FC236}">
                <a16:creationId xmlns:a16="http://schemas.microsoft.com/office/drawing/2014/main" id="{F5928786-EECB-4008-894C-1D924464CE5A}"/>
              </a:ext>
            </a:extLst>
          </p:cNvPr>
          <p:cNvCxnSpPr>
            <a:cxnSpLocks/>
          </p:cNvCxnSpPr>
          <p:nvPr userDrawn="1"/>
        </p:nvCxnSpPr>
        <p:spPr>
          <a:xfrm flipH="1">
            <a:off x="6867794" y="3104181"/>
            <a:ext cx="142572" cy="0"/>
          </a:xfrm>
          <a:prstGeom prst="straightConnector1">
            <a:avLst/>
          </a:prstGeom>
          <a:ln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Lige pilforbindelse 49">
            <a:extLst>
              <a:ext uri="{FF2B5EF4-FFF2-40B4-BE49-F238E27FC236}">
                <a16:creationId xmlns:a16="http://schemas.microsoft.com/office/drawing/2014/main" id="{A7A0705E-83B5-4B69-8097-3382A86ECF8F}"/>
              </a:ext>
            </a:extLst>
          </p:cNvPr>
          <p:cNvCxnSpPr>
            <a:cxnSpLocks/>
          </p:cNvCxnSpPr>
          <p:nvPr userDrawn="1"/>
        </p:nvCxnSpPr>
        <p:spPr>
          <a:xfrm>
            <a:off x="7810460" y="2882611"/>
            <a:ext cx="0" cy="95780"/>
          </a:xfrm>
          <a:prstGeom prst="straightConnector1">
            <a:avLst/>
          </a:prstGeom>
          <a:ln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4325284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delt (tekst/billed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591138"/>
            <a:ext cx="7288213" cy="898297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>Klik for at tilføje titel</a:t>
            </a:r>
            <a:endParaRPr lang="da-DK" noProof="0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6810C78A-23C9-4426-9672-56EAFB0CECFC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539750" y="1053909"/>
            <a:ext cx="7288214" cy="435526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-DK" dirty="0"/>
              <a:t>Klik for at tilføje underoverskrift i en linj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quarter" idx="13" hasCustomPrompt="1"/>
          </p:nvPr>
        </p:nvSpPr>
        <p:spPr>
          <a:xfrm>
            <a:off x="539749" y="1818000"/>
            <a:ext cx="7288214" cy="428276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noProof="0" dirty="0"/>
              <a:t>Klik for at tilføje tekst</a:t>
            </a:r>
          </a:p>
          <a:p>
            <a:pPr lvl="1"/>
            <a:r>
              <a:rPr lang="da-DK" noProof="0" dirty="0"/>
              <a:t>Secon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2"/>
            <a:r>
              <a:rPr lang="da-DK" noProof="0" dirty="0"/>
              <a:t>Thir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3"/>
            <a:r>
              <a:rPr lang="da-DK" noProof="0" dirty="0" err="1"/>
              <a:t>Fourth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4"/>
            <a:r>
              <a:rPr lang="da-DK" noProof="0" dirty="0"/>
              <a:t>Fifth </a:t>
            </a:r>
            <a:r>
              <a:rPr lang="da-DK" noProof="0" dirty="0" err="1"/>
              <a:t>level</a:t>
            </a:r>
            <a:endParaRPr lang="da-DK" noProof="0" dirty="0"/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186738" y="1871663"/>
            <a:ext cx="3463924" cy="4229100"/>
          </a:xfrm>
          <a:solidFill>
            <a:schemeClr val="bg2"/>
          </a:solidFill>
        </p:spPr>
        <p:txBody>
          <a:bodyPr lIns="540000" tIns="900000" rIns="540000" anchor="ctr" anchorCtr="0"/>
          <a:lstStyle>
            <a:lvl1pPr marL="0" indent="0" algn="ctr">
              <a:buNone/>
              <a:defRPr sz="1500"/>
            </a:lvl1pPr>
          </a:lstStyle>
          <a:p>
            <a:r>
              <a:rPr lang="da-DK" noProof="0" dirty="0"/>
              <a:t>Klik på ikonet for at tilføje billede eller grafik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F2E72B64-D55D-4FBA-AB42-4C2CA5D3CF6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23F89D7C-DBD3-4932-BFAE-007301BA21FA}" type="datetime2">
              <a:rPr lang="da-DK" smtClean="0"/>
              <a:t>28. marts 2023</a:t>
            </a:fld>
            <a:endParaRPr lang="da-DK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3ACC3765-6ADF-4B65-9AFB-C50473B973C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a-DK"/>
              <a:t>Arbejdsområder og -opgaver i LEU og ASK</a:t>
            </a:r>
            <a:endParaRPr lang="da-DK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659E3BFE-B339-4298-976D-1CB2ABBC25E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a-DK" dirty="0"/>
              <a:t>Side </a:t>
            </a:r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96599891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A1CBA8C2-5FDD-4C6C-A1AF-9BABA75E417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12192000" cy="6858000"/>
          </a:xfrm>
        </p:spPr>
        <p:txBody>
          <a:bodyPr lIns="5914800" tIns="648000" anchor="ctr" anchorCtr="0"/>
          <a:lstStyle>
            <a:lvl1pPr marL="0" indent="0">
              <a:buNone/>
              <a:defRPr/>
            </a:lvl1pPr>
          </a:lstStyle>
          <a:p>
            <a:r>
              <a:rPr lang="da-DK" dirty="0"/>
              <a:t>Klik på ikonet for at tilføje baggrundsbillede eller grafik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65CBFB77-1EFA-40BD-9626-B9C2C352BBCD}"/>
              </a:ext>
            </a:extLst>
          </p:cNvPr>
          <p:cNvSpPr>
            <a:spLocks noGrp="1"/>
          </p:cNvSpPr>
          <p:nvPr userDrawn="1">
            <p:ph type="body" sz="quarter" idx="16"/>
          </p:nvPr>
        </p:nvSpPr>
        <p:spPr>
          <a:xfrm>
            <a:off x="540000" y="3895778"/>
            <a:ext cx="11109600" cy="2306584"/>
          </a:xfrm>
          <a:custGeom>
            <a:avLst/>
            <a:gdLst>
              <a:gd name="connsiteX0" fmla="*/ 1157038 w 11109600"/>
              <a:gd name="connsiteY0" fmla="*/ 1154059 h 2306584"/>
              <a:gd name="connsiteX1" fmla="*/ 2314325 w 11109600"/>
              <a:gd name="connsiteY1" fmla="*/ 2306584 h 2306584"/>
              <a:gd name="connsiteX2" fmla="*/ 1928563 w 11109600"/>
              <a:gd name="connsiteY2" fmla="*/ 2306584 h 2306584"/>
              <a:gd name="connsiteX3" fmla="*/ 1157038 w 11109600"/>
              <a:gd name="connsiteY3" fmla="*/ 1538234 h 2306584"/>
              <a:gd name="connsiteX4" fmla="*/ 385513 w 11109600"/>
              <a:gd name="connsiteY4" fmla="*/ 2306584 h 2306584"/>
              <a:gd name="connsiteX5" fmla="*/ 5778 w 11109600"/>
              <a:gd name="connsiteY5" fmla="*/ 2306584 h 2306584"/>
              <a:gd name="connsiteX6" fmla="*/ 0 w 11109600"/>
              <a:gd name="connsiteY6" fmla="*/ 2306584 h 2306584"/>
              <a:gd name="connsiteX7" fmla="*/ 0 w 11109600"/>
              <a:gd name="connsiteY7" fmla="*/ 2304116 h 2306584"/>
              <a:gd name="connsiteX8" fmla="*/ 23270 w 11109600"/>
              <a:gd name="connsiteY8" fmla="*/ 2074363 h 2306584"/>
              <a:gd name="connsiteX9" fmla="*/ 1157038 w 11109600"/>
              <a:gd name="connsiteY9" fmla="*/ 1154059 h 2306584"/>
              <a:gd name="connsiteX10" fmla="*/ 11109600 w 11109600"/>
              <a:gd name="connsiteY10" fmla="*/ 0 h 2306584"/>
              <a:gd name="connsiteX11" fmla="*/ 11109600 w 11109600"/>
              <a:gd name="connsiteY11" fmla="*/ 384439 h 2306584"/>
              <a:gd name="connsiteX12" fmla="*/ 11031756 w 11109600"/>
              <a:gd name="connsiteY12" fmla="*/ 388353 h 2306584"/>
              <a:gd name="connsiteX13" fmla="*/ 10339138 w 11109600"/>
              <a:gd name="connsiteY13" fmla="*/ 1153265 h 2306584"/>
              <a:gd name="connsiteX14" fmla="*/ 11031756 w 11109600"/>
              <a:gd name="connsiteY14" fmla="*/ 1918177 h 2306584"/>
              <a:gd name="connsiteX15" fmla="*/ 11109600 w 11109600"/>
              <a:gd name="connsiteY15" fmla="*/ 1922092 h 2306584"/>
              <a:gd name="connsiteX16" fmla="*/ 11109600 w 11109600"/>
              <a:gd name="connsiteY16" fmla="*/ 2306531 h 2306584"/>
              <a:gd name="connsiteX17" fmla="*/ 10992367 w 11109600"/>
              <a:gd name="connsiteY17" fmla="*/ 2300628 h 2306584"/>
              <a:gd name="connsiteX18" fmla="*/ 9953375 w 11109600"/>
              <a:gd name="connsiteY18" fmla="*/ 1153265 h 2306584"/>
              <a:gd name="connsiteX19" fmla="*/ 10992367 w 11109600"/>
              <a:gd name="connsiteY19" fmla="*/ 5894 h 23065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1109600" h="2306584">
                <a:moveTo>
                  <a:pt x="1157038" y="1154059"/>
                </a:moveTo>
                <a:cubicBezTo>
                  <a:pt x="1796007" y="1154059"/>
                  <a:pt x="2314325" y="1670245"/>
                  <a:pt x="2314325" y="2306584"/>
                </a:cubicBezTo>
                <a:cubicBezTo>
                  <a:pt x="1928563" y="2306584"/>
                  <a:pt x="1928563" y="2306584"/>
                  <a:pt x="1928563" y="2306584"/>
                </a:cubicBezTo>
                <a:cubicBezTo>
                  <a:pt x="1928563" y="1882095"/>
                  <a:pt x="1583282" y="1538234"/>
                  <a:pt x="1157038" y="1538234"/>
                </a:cubicBezTo>
                <a:cubicBezTo>
                  <a:pt x="730794" y="1538234"/>
                  <a:pt x="385513" y="1882095"/>
                  <a:pt x="385513" y="2306584"/>
                </a:cubicBezTo>
                <a:cubicBezTo>
                  <a:pt x="96191" y="2306584"/>
                  <a:pt x="23860" y="2306584"/>
                  <a:pt x="5778" y="2306584"/>
                </a:cubicBezTo>
                <a:lnTo>
                  <a:pt x="0" y="2306584"/>
                </a:lnTo>
                <a:lnTo>
                  <a:pt x="0" y="2304116"/>
                </a:lnTo>
                <a:lnTo>
                  <a:pt x="23270" y="2074363"/>
                </a:lnTo>
                <a:cubicBezTo>
                  <a:pt x="131215" y="1549264"/>
                  <a:pt x="597940" y="1154059"/>
                  <a:pt x="1157038" y="1154059"/>
                </a:cubicBezTo>
                <a:close/>
                <a:moveTo>
                  <a:pt x="11109600" y="0"/>
                </a:moveTo>
                <a:lnTo>
                  <a:pt x="11109600" y="384439"/>
                </a:lnTo>
                <a:lnTo>
                  <a:pt x="11031756" y="388353"/>
                </a:lnTo>
                <a:cubicBezTo>
                  <a:pt x="10642608" y="427713"/>
                  <a:pt x="10339138" y="755032"/>
                  <a:pt x="10339138" y="1153265"/>
                </a:cubicBezTo>
                <a:cubicBezTo>
                  <a:pt x="10339138" y="1551498"/>
                  <a:pt x="10642608" y="1878818"/>
                  <a:pt x="11031756" y="1918177"/>
                </a:cubicBezTo>
                <a:lnTo>
                  <a:pt x="11109600" y="1922092"/>
                </a:lnTo>
                <a:lnTo>
                  <a:pt x="11109600" y="2306531"/>
                </a:lnTo>
                <a:lnTo>
                  <a:pt x="10992367" y="2300628"/>
                </a:lnTo>
                <a:cubicBezTo>
                  <a:pt x="10408929" y="2241547"/>
                  <a:pt x="9953375" y="1750245"/>
                  <a:pt x="9953375" y="1153265"/>
                </a:cubicBezTo>
                <a:cubicBezTo>
                  <a:pt x="9953375" y="555544"/>
                  <a:pt x="10408929" y="64891"/>
                  <a:pt x="10992367" y="5894"/>
                </a:cubicBezTo>
                <a:close/>
              </a:path>
            </a:pathLst>
          </a:custGeom>
          <a:solidFill>
            <a:srgbClr val="F39678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9749" y="1394807"/>
            <a:ext cx="7286727" cy="2068025"/>
          </a:xfrm>
        </p:spPr>
        <p:txBody>
          <a:bodyPr anchor="b">
            <a:normAutofit/>
          </a:bodyPr>
          <a:lstStyle>
            <a:lvl1pPr algn="l">
              <a:lnSpc>
                <a:spcPct val="86000"/>
              </a:lnSpc>
              <a:defRPr sz="5200">
                <a:solidFill>
                  <a:schemeClr val="tx1"/>
                </a:solidFill>
              </a:defRPr>
            </a:lvl1pPr>
          </a:lstStyle>
          <a:p>
            <a:r>
              <a:rPr lang="da-DK" dirty="0"/>
              <a:t>Klik for at tilføje titel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9750" y="3714750"/>
            <a:ext cx="5375276" cy="84582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1pPr>
            <a:lvl2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2000"/>
            </a:lvl2pPr>
            <a:lvl3pPr marL="0" indent="0" algn="l">
              <a:lnSpc>
                <a:spcPct val="100000"/>
              </a:lnSpc>
              <a:buFont typeface="Arial" panose="020B0604020202020204" pitchFamily="34" charset="0"/>
              <a:buChar char="​"/>
              <a:defRPr sz="2000"/>
            </a:lvl3pPr>
            <a:lvl4pPr marL="0" indent="0" algn="l">
              <a:lnSpc>
                <a:spcPct val="100000"/>
              </a:lnSpc>
              <a:buFont typeface="Arial" panose="020B0604020202020204" pitchFamily="34" charset="0"/>
              <a:buChar char="​"/>
              <a:defRPr sz="2000"/>
            </a:lvl4pPr>
            <a:lvl5pPr marL="0" indent="0" algn="l">
              <a:lnSpc>
                <a:spcPct val="100000"/>
              </a:lnSpc>
              <a:buFont typeface="Arial" panose="020B0604020202020204" pitchFamily="34" charset="0"/>
              <a:buChar char="​"/>
              <a:defRPr sz="2000"/>
            </a:lvl5pPr>
            <a:lvl6pPr marL="0" indent="0" algn="l">
              <a:lnSpc>
                <a:spcPct val="100000"/>
              </a:lnSpc>
              <a:buFont typeface="Arial" panose="020B0604020202020204" pitchFamily="34" charset="0"/>
              <a:buChar char="​"/>
              <a:defRPr sz="2000"/>
            </a:lvl6pPr>
            <a:lvl7pPr marL="0" indent="0" algn="l">
              <a:lnSpc>
                <a:spcPct val="100000"/>
              </a:lnSpc>
              <a:buFont typeface="Arial" panose="020B0604020202020204" pitchFamily="34" charset="0"/>
              <a:buChar char="​"/>
              <a:defRPr sz="2000"/>
            </a:lvl7pPr>
            <a:lvl8pPr marL="0" indent="0" algn="l">
              <a:lnSpc>
                <a:spcPct val="100000"/>
              </a:lnSpc>
              <a:buFont typeface="Arial" panose="020B0604020202020204" pitchFamily="34" charset="0"/>
              <a:buChar char="​"/>
              <a:defRPr sz="2000"/>
            </a:lvl8pPr>
            <a:lvl9pPr marL="0" indent="0" algn="l">
              <a:lnSpc>
                <a:spcPct val="100000"/>
              </a:lnSpc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da-DK" dirty="0"/>
              <a:t>Klik for at tilføje underoverskrift i flere linjer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A150808B-E263-4FBC-9570-DFE480C0F8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86737" y="293147"/>
            <a:ext cx="1912938" cy="165730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9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900" baseline="0"/>
            </a:lvl2pPr>
            <a:lvl3pPr marL="0" indent="0">
              <a:spcBef>
                <a:spcPts val="0"/>
              </a:spcBef>
              <a:buFontTx/>
              <a:buNone/>
              <a:defRPr sz="900" baseline="0"/>
            </a:lvl3pPr>
            <a:lvl4pPr>
              <a:spcBef>
                <a:spcPts val="0"/>
              </a:spcBef>
              <a:buFontTx/>
              <a:buNone/>
              <a:defRPr sz="900" baseline="0"/>
            </a:lvl4pPr>
            <a:lvl5pPr>
              <a:spcBef>
                <a:spcPts val="0"/>
              </a:spcBef>
              <a:buFontTx/>
              <a:buNone/>
              <a:defRPr sz="900" b="0" baseline="0"/>
            </a:lvl5pPr>
          </a:lstStyle>
          <a:p>
            <a:pPr lvl="0"/>
            <a:r>
              <a:rPr lang="da-DK" dirty="0"/>
              <a:t>Klik for at tilføje navn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848790F6-CFD6-41BF-996C-6434B29FA7D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86737" y="458876"/>
            <a:ext cx="1912938" cy="188824"/>
          </a:xfrm>
        </p:spPr>
        <p:txBody>
          <a:bodyPr/>
          <a:lstStyle>
            <a:lvl1pPr marL="0" indent="0">
              <a:buNone/>
              <a:defRPr sz="900" baseline="0">
                <a:solidFill>
                  <a:schemeClr val="tx1"/>
                </a:solidFill>
              </a:defRPr>
            </a:lvl1pPr>
            <a:lvl2pPr marL="0" indent="0">
              <a:buNone/>
              <a:defRPr sz="900" baseline="0">
                <a:solidFill>
                  <a:schemeClr val="accent4"/>
                </a:solidFill>
              </a:defRPr>
            </a:lvl2pPr>
            <a:lvl3pPr marL="0" indent="0">
              <a:buNone/>
              <a:defRPr sz="900" baseline="0">
                <a:solidFill>
                  <a:schemeClr val="accent4"/>
                </a:solidFill>
              </a:defRPr>
            </a:lvl3pPr>
            <a:lvl4pPr>
              <a:buNone/>
              <a:defRPr sz="900" baseline="0">
                <a:solidFill>
                  <a:schemeClr val="accent4"/>
                </a:solidFill>
              </a:defRPr>
            </a:lvl4pPr>
            <a:lvl5pPr>
              <a:buNone/>
              <a:defRPr sz="900" b="0" baseline="0">
                <a:solidFill>
                  <a:schemeClr val="accent4"/>
                </a:solidFill>
              </a:defRPr>
            </a:lvl5pPr>
          </a:lstStyle>
          <a:p>
            <a:pPr lvl="0"/>
            <a:r>
              <a:rPr lang="da-DK" dirty="0"/>
              <a:t>Klik for at tilføje titel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697343A0-2427-49D0-86FF-278091551D9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099675" y="293146"/>
            <a:ext cx="1550988" cy="165730"/>
          </a:xfrm>
        </p:spPr>
        <p:txBody>
          <a:bodyPr anchor="t" anchorCtr="0"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fld id="{3DFE243B-8F83-4A72-A60F-E81B0355F1D6}" type="datetime2">
              <a:rPr lang="da-DK" smtClean="0"/>
              <a:t>28. marts 2023</a:t>
            </a:fld>
            <a:endParaRPr lang="da-DK" dirty="0"/>
          </a:p>
        </p:txBody>
      </p:sp>
      <p:sp>
        <p:nvSpPr>
          <p:cNvPr id="26" name="Footer Placeholder 3">
            <a:extLst>
              <a:ext uri="{FF2B5EF4-FFF2-40B4-BE49-F238E27FC236}">
                <a16:creationId xmlns:a16="http://schemas.microsoft.com/office/drawing/2014/main" id="{BC8A0B44-7BEC-4535-AD60-7EC23794D93A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27" name="Slide Number Placeholder 4">
            <a:extLst>
              <a:ext uri="{FF2B5EF4-FFF2-40B4-BE49-F238E27FC236}">
                <a16:creationId xmlns:a16="http://schemas.microsoft.com/office/drawing/2014/main" id="{EF8ABEC4-FE86-479C-9494-A3482DA451EB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540000" y="234000"/>
            <a:ext cx="1857600" cy="5112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2877610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delt (tekst/billed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591138"/>
            <a:ext cx="7288213" cy="898297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>Klik for at tilføje titel</a:t>
            </a:r>
            <a:endParaRPr lang="da-DK" noProof="0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6810C78A-23C9-4426-9672-56EAFB0CECFC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539750" y="1053909"/>
            <a:ext cx="7288214" cy="435526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-DK" dirty="0"/>
              <a:t>Klik for at tilføje underoverskrift i en linj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quarter" idx="13" hasCustomPrompt="1"/>
          </p:nvPr>
        </p:nvSpPr>
        <p:spPr>
          <a:xfrm>
            <a:off x="539749" y="1818000"/>
            <a:ext cx="7288214" cy="428276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noProof="0" dirty="0"/>
              <a:t>Klik for at tilføje tekst</a:t>
            </a:r>
          </a:p>
          <a:p>
            <a:pPr lvl="1"/>
            <a:r>
              <a:rPr lang="da-DK" noProof="0" dirty="0"/>
              <a:t>Secon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2"/>
            <a:r>
              <a:rPr lang="da-DK" noProof="0" dirty="0"/>
              <a:t>Thir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3"/>
            <a:r>
              <a:rPr lang="da-DK" noProof="0" dirty="0" err="1"/>
              <a:t>Fourth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4"/>
            <a:r>
              <a:rPr lang="da-DK" noProof="0" dirty="0"/>
              <a:t>Fifth </a:t>
            </a:r>
            <a:r>
              <a:rPr lang="da-DK" noProof="0" dirty="0" err="1"/>
              <a:t>level</a:t>
            </a:r>
            <a:endParaRPr lang="da-DK" noProof="0" dirty="0"/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186738" y="1871663"/>
            <a:ext cx="3463924" cy="4229100"/>
          </a:xfrm>
          <a:solidFill>
            <a:schemeClr val="bg2"/>
          </a:solidFill>
        </p:spPr>
        <p:txBody>
          <a:bodyPr lIns="540000" tIns="900000" rIns="540000" anchor="ctr" anchorCtr="0"/>
          <a:lstStyle>
            <a:lvl1pPr marL="0" indent="0" algn="ctr">
              <a:buNone/>
              <a:defRPr sz="1500"/>
            </a:lvl1pPr>
          </a:lstStyle>
          <a:p>
            <a:r>
              <a:rPr lang="da-DK" noProof="0" dirty="0"/>
              <a:t>Klik på ikonet for at tilføje billede eller grafik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F2E72B64-D55D-4FBA-AB42-4C2CA5D3CF6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9B26E533-9AFB-475A-887A-1767EF5D338B}" type="datetime2">
              <a:rPr lang="da-DK" smtClean="0"/>
              <a:t>28. marts 2023</a:t>
            </a:fld>
            <a:endParaRPr lang="da-DK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3ACC3765-6ADF-4B65-9AFB-C50473B973C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659E3BFE-B339-4298-976D-1CB2ABBC25E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a-DK" dirty="0"/>
              <a:t>Side </a:t>
            </a:r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32825103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delt     (tekst/graf etc.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591138"/>
            <a:ext cx="7288213" cy="898297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>Klik for at tilføje titel</a:t>
            </a:r>
            <a:endParaRPr lang="da-DK" noProof="0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6810C78A-23C9-4426-9672-56EAFB0CECFC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539750" y="1053909"/>
            <a:ext cx="7288214" cy="435525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-DK" dirty="0"/>
              <a:t>Klik for at tilføje underoverskrift i en linj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quarter" idx="13" hasCustomPrompt="1"/>
          </p:nvPr>
        </p:nvSpPr>
        <p:spPr>
          <a:xfrm>
            <a:off x="539749" y="1818000"/>
            <a:ext cx="7288214" cy="428276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tilføje tekst eller klik på tabel-/graf-/SmartArt- eller video-ikon for at indsætte objekt. For at indsætte billede, skift til layout Todelt #1 (tekst/billede)</a:t>
            </a:r>
            <a:endParaRPr lang="da-DK" noProof="0" dirty="0"/>
          </a:p>
          <a:p>
            <a:pPr lvl="1"/>
            <a:r>
              <a:rPr lang="da-DK" noProof="0" dirty="0"/>
              <a:t>Secon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2"/>
            <a:r>
              <a:rPr lang="da-DK" noProof="0" dirty="0"/>
              <a:t>Thir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3"/>
            <a:r>
              <a:rPr lang="da-DK" noProof="0" dirty="0" err="1"/>
              <a:t>Fourth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4"/>
            <a:r>
              <a:rPr lang="da-DK" noProof="0" dirty="0"/>
              <a:t>Fifth </a:t>
            </a:r>
            <a:r>
              <a:rPr lang="da-DK" noProof="0" dirty="0" err="1"/>
              <a:t>level</a:t>
            </a:r>
            <a:endParaRPr lang="da-DK" noProof="0" dirty="0"/>
          </a:p>
        </p:txBody>
      </p:sp>
      <p:sp>
        <p:nvSpPr>
          <p:cNvPr id="13" name="Content Placeholder 13">
            <a:extLst>
              <a:ext uri="{FF2B5EF4-FFF2-40B4-BE49-F238E27FC236}">
                <a16:creationId xmlns:a16="http://schemas.microsoft.com/office/drawing/2014/main" id="{7583199B-5647-449E-90B4-9FCBFAD89242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8186737" y="1818001"/>
            <a:ext cx="3463926" cy="428276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tilføje tekst eller klik på tabel-/graf-/SmartArt- eller video-ikon for at indsætte objekt. For at indsætte billede, skift til layout: Todelt (tekst/billede)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F2E72B64-D55D-4FBA-AB42-4C2CA5D3CF6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A1A8759C-CDBA-46C3-BDB7-02B0329A5936}" type="datetime2">
              <a:rPr lang="da-DK" smtClean="0"/>
              <a:t>28. marts 2023</a:t>
            </a:fld>
            <a:endParaRPr lang="da-DK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3ACC3765-6ADF-4B65-9AFB-C50473B973C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659E3BFE-B339-4298-976D-1CB2ABBC25E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a-DK" dirty="0"/>
              <a:t>Side </a:t>
            </a:r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82212343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+ billede til k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591138"/>
            <a:ext cx="5375275" cy="898297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>Klik for at tilføje titel</a:t>
            </a:r>
            <a:endParaRPr lang="da-DK" noProof="0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6810C78A-23C9-4426-9672-56EAFB0CECFC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539750" y="1053909"/>
            <a:ext cx="5375276" cy="435525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-DK" dirty="0"/>
              <a:t>Klik for at tilføje underoverskrift i en linj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quarter" idx="13" hasCustomPrompt="1"/>
          </p:nvPr>
        </p:nvSpPr>
        <p:spPr>
          <a:xfrm>
            <a:off x="539749" y="1818000"/>
            <a:ext cx="5375276" cy="428276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noProof="0" dirty="0"/>
              <a:t>Klik for at tilføje tekst</a:t>
            </a:r>
          </a:p>
          <a:p>
            <a:pPr lvl="1"/>
            <a:r>
              <a:rPr lang="da-DK" noProof="0" dirty="0"/>
              <a:t>Secon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2"/>
            <a:r>
              <a:rPr lang="da-DK" noProof="0" dirty="0"/>
              <a:t>Thir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3"/>
            <a:r>
              <a:rPr lang="da-DK" noProof="0" dirty="0" err="1"/>
              <a:t>Fourth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4"/>
            <a:r>
              <a:rPr lang="da-DK" noProof="0" dirty="0"/>
              <a:t>Fifth </a:t>
            </a:r>
            <a:r>
              <a:rPr lang="da-DK" noProof="0" dirty="0" err="1"/>
              <a:t>level</a:t>
            </a:r>
            <a:endParaRPr lang="da-DK" noProof="0" dirty="0"/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275389" y="0"/>
            <a:ext cx="5916612" cy="6858000"/>
          </a:xfrm>
          <a:solidFill>
            <a:schemeClr val="bg2"/>
          </a:solidFill>
        </p:spPr>
        <p:txBody>
          <a:bodyPr tIns="648000" anchor="ctr" anchorCtr="0"/>
          <a:lstStyle>
            <a:lvl1pPr marL="0" indent="0" algn="ctr">
              <a:buNone/>
              <a:defRPr sz="1500"/>
            </a:lvl1pPr>
          </a:lstStyle>
          <a:p>
            <a:r>
              <a:rPr lang="da-DK" noProof="0" dirty="0"/>
              <a:t>Klik på ikonet for at tilføje billede eller grafik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3ACC3765-6ADF-4B65-9AFB-C50473B973C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659E3BFE-B339-4298-976D-1CB2ABBC25E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a-DK" dirty="0"/>
              <a:t>Side </a:t>
            </a:r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0369F211-FDD1-4E92-95B5-71B9EC9798B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AEFE81C7-7073-489F-A725-623AD2E7131B}" type="datetime2">
              <a:rPr lang="da-DK" smtClean="0"/>
              <a:t>28. marts 2023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66236045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/ afslut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ggr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1F6E5B2F-CC3D-4D86-99BE-8EA3E717668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12192000" cy="6858000"/>
          </a:xfrm>
          <a:solidFill>
            <a:schemeClr val="tx1"/>
          </a:solidFill>
        </p:spPr>
        <p:txBody>
          <a:bodyPr lIns="5914800" tIns="648000" anchor="ctr" anchorCtr="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på ikonet for at tilføje baggrundsbillede eller grafik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9749" y="814665"/>
            <a:ext cx="7288214" cy="2039815"/>
          </a:xfrm>
        </p:spPr>
        <p:txBody>
          <a:bodyPr anchor="b">
            <a:normAutofit/>
          </a:bodyPr>
          <a:lstStyle>
            <a:lvl1pPr algn="l">
              <a:defRPr sz="52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for at tilføje titel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9750" y="3718762"/>
            <a:ext cx="5375276" cy="876098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buFont typeface="Arial" panose="020B0604020202020204" pitchFamily="34" charset="0"/>
              <a:buChar char="​"/>
              <a:tabLst/>
              <a:defRPr sz="2000">
                <a:solidFill>
                  <a:schemeClr val="bg1"/>
                </a:solidFill>
              </a:defRPr>
            </a:lvl9pPr>
          </a:lstStyle>
          <a:p>
            <a:r>
              <a:rPr lang="da-DK" dirty="0"/>
              <a:t>Klik for at tilføje underoverskrift i flere linjer</a:t>
            </a:r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F37FCB1C-BAA5-4AD0-A596-1E19BB8CFC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98B779-D93D-484E-8ABD-598B00FD4A99}" type="datetime2">
              <a:rPr lang="da-DK" smtClean="0"/>
              <a:t>28. marts 2023</a:t>
            </a:fld>
            <a:endParaRPr lang="da-DK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64B2E2A9-DAAF-417C-8959-E5C42D1315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0E371C9F-ADA4-4BAA-8125-BEED3FADD1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Side </a:t>
            </a:r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0EDF7F10-A4E6-4123-91AD-1E678DEC18C3}"/>
              </a:ext>
            </a:extLst>
          </p:cNvPr>
          <p:cNvSpPr>
            <a:spLocks noGrp="1"/>
          </p:cNvSpPr>
          <p:nvPr userDrawn="1">
            <p:ph type="body" sz="quarter" idx="16"/>
          </p:nvPr>
        </p:nvSpPr>
        <p:spPr>
          <a:xfrm>
            <a:off x="540001" y="4759200"/>
            <a:ext cx="2511174" cy="1249200"/>
          </a:xfrm>
          <a:custGeom>
            <a:avLst/>
            <a:gdLst>
              <a:gd name="connsiteX0" fmla="*/ 0 w 2511174"/>
              <a:gd name="connsiteY0" fmla="*/ 624012 h 1249200"/>
              <a:gd name="connsiteX1" fmla="*/ 3018 w 2511174"/>
              <a:gd name="connsiteY1" fmla="*/ 624012 h 1249200"/>
              <a:gd name="connsiteX2" fmla="*/ 208976 w 2511174"/>
              <a:gd name="connsiteY2" fmla="*/ 624012 h 1249200"/>
              <a:gd name="connsiteX3" fmla="*/ 627781 w 2511174"/>
              <a:gd name="connsiteY3" fmla="*/ 1041112 h 1249200"/>
              <a:gd name="connsiteX4" fmla="*/ 1046235 w 2511174"/>
              <a:gd name="connsiteY4" fmla="*/ 624012 h 1249200"/>
              <a:gd name="connsiteX5" fmla="*/ 1255462 w 2511174"/>
              <a:gd name="connsiteY5" fmla="*/ 624012 h 1249200"/>
              <a:gd name="connsiteX6" fmla="*/ 754298 w 2511174"/>
              <a:gd name="connsiteY6" fmla="*/ 1236789 h 1249200"/>
              <a:gd name="connsiteX7" fmla="*/ 630641 w 2511174"/>
              <a:gd name="connsiteY7" fmla="*/ 1249200 h 1249200"/>
              <a:gd name="connsiteX8" fmla="*/ 624919 w 2511174"/>
              <a:gd name="connsiteY8" fmla="*/ 1249200 h 1249200"/>
              <a:gd name="connsiteX9" fmla="*/ 501148 w 2511174"/>
              <a:gd name="connsiteY9" fmla="*/ 1236789 h 1249200"/>
              <a:gd name="connsiteX10" fmla="*/ 12500 w 2511174"/>
              <a:gd name="connsiteY10" fmla="*/ 750130 h 1249200"/>
              <a:gd name="connsiteX11" fmla="*/ 0 w 2511174"/>
              <a:gd name="connsiteY11" fmla="*/ 626495 h 1249200"/>
              <a:gd name="connsiteX12" fmla="*/ 2496585 w 2511174"/>
              <a:gd name="connsiteY12" fmla="*/ 0 h 1249200"/>
              <a:gd name="connsiteX13" fmla="*/ 2511174 w 2511174"/>
              <a:gd name="connsiteY13" fmla="*/ 0 h 1249200"/>
              <a:gd name="connsiteX14" fmla="*/ 2511174 w 2511174"/>
              <a:gd name="connsiteY14" fmla="*/ 67336 h 1249200"/>
              <a:gd name="connsiteX15" fmla="*/ 2511174 w 2511174"/>
              <a:gd name="connsiteY15" fmla="*/ 206970 h 1249200"/>
              <a:gd name="connsiteX16" fmla="*/ 2091957 w 2511174"/>
              <a:gd name="connsiteY16" fmla="*/ 623837 h 1249200"/>
              <a:gd name="connsiteX17" fmla="*/ 2511174 w 2511174"/>
              <a:gd name="connsiteY17" fmla="*/ 1041054 h 1249200"/>
              <a:gd name="connsiteX18" fmla="*/ 2511174 w 2511174"/>
              <a:gd name="connsiteY18" fmla="*/ 1246230 h 1249200"/>
              <a:gd name="connsiteX19" fmla="*/ 2511174 w 2511174"/>
              <a:gd name="connsiteY19" fmla="*/ 1249200 h 1249200"/>
              <a:gd name="connsiteX20" fmla="*/ 2508312 w 2511174"/>
              <a:gd name="connsiteY20" fmla="*/ 1249200 h 1249200"/>
              <a:gd name="connsiteX21" fmla="*/ 2384518 w 2511174"/>
              <a:gd name="connsiteY21" fmla="*/ 1236785 h 1249200"/>
              <a:gd name="connsiteX22" fmla="*/ 1882524 w 2511174"/>
              <a:gd name="connsiteY22" fmla="*/ 623837 h 1249200"/>
              <a:gd name="connsiteX23" fmla="*/ 2384518 w 2511174"/>
              <a:gd name="connsiteY23" fmla="*/ 11239 h 124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2511174" h="1249200">
                <a:moveTo>
                  <a:pt x="0" y="624012"/>
                </a:moveTo>
                <a:lnTo>
                  <a:pt x="3018" y="624012"/>
                </a:lnTo>
                <a:cubicBezTo>
                  <a:pt x="12826" y="624012"/>
                  <a:pt x="52056" y="624012"/>
                  <a:pt x="208976" y="624012"/>
                </a:cubicBezTo>
                <a:cubicBezTo>
                  <a:pt x="208976" y="854450"/>
                  <a:pt x="396401" y="1041112"/>
                  <a:pt x="627781" y="1041112"/>
                </a:cubicBezTo>
                <a:cubicBezTo>
                  <a:pt x="858810" y="1041112"/>
                  <a:pt x="1046235" y="854450"/>
                  <a:pt x="1046235" y="624012"/>
                </a:cubicBezTo>
                <a:cubicBezTo>
                  <a:pt x="1046235" y="624012"/>
                  <a:pt x="1046235" y="624012"/>
                  <a:pt x="1255462" y="624012"/>
                </a:cubicBezTo>
                <a:cubicBezTo>
                  <a:pt x="1255462" y="926462"/>
                  <a:pt x="1040351" y="1178504"/>
                  <a:pt x="754298" y="1236789"/>
                </a:cubicBezTo>
                <a:lnTo>
                  <a:pt x="630641" y="1249200"/>
                </a:lnTo>
                <a:lnTo>
                  <a:pt x="624919" y="1249200"/>
                </a:lnTo>
                <a:lnTo>
                  <a:pt x="501148" y="1236789"/>
                </a:lnTo>
                <a:cubicBezTo>
                  <a:pt x="255759" y="1186830"/>
                  <a:pt x="62662" y="994520"/>
                  <a:pt x="12500" y="750130"/>
                </a:cubicBezTo>
                <a:lnTo>
                  <a:pt x="0" y="626495"/>
                </a:lnTo>
                <a:close/>
                <a:moveTo>
                  <a:pt x="2496585" y="0"/>
                </a:moveTo>
                <a:lnTo>
                  <a:pt x="2511174" y="0"/>
                </a:lnTo>
                <a:lnTo>
                  <a:pt x="2511174" y="67336"/>
                </a:lnTo>
                <a:cubicBezTo>
                  <a:pt x="2511174" y="206970"/>
                  <a:pt x="2511174" y="206970"/>
                  <a:pt x="2511174" y="206970"/>
                </a:cubicBezTo>
                <a:cubicBezTo>
                  <a:pt x="2279918" y="206970"/>
                  <a:pt x="2091957" y="393684"/>
                  <a:pt x="2091957" y="623837"/>
                </a:cubicBezTo>
                <a:cubicBezTo>
                  <a:pt x="2091957" y="854340"/>
                  <a:pt x="2279918" y="1041054"/>
                  <a:pt x="2511174" y="1041054"/>
                </a:cubicBezTo>
                <a:cubicBezTo>
                  <a:pt x="2511174" y="1197379"/>
                  <a:pt x="2511174" y="1236460"/>
                  <a:pt x="2511174" y="1246230"/>
                </a:cubicBezTo>
                <a:lnTo>
                  <a:pt x="2511174" y="1249200"/>
                </a:lnTo>
                <a:lnTo>
                  <a:pt x="2508312" y="1249200"/>
                </a:lnTo>
                <a:lnTo>
                  <a:pt x="2384518" y="1236785"/>
                </a:lnTo>
                <a:cubicBezTo>
                  <a:pt x="2098116" y="1178484"/>
                  <a:pt x="1882524" y="926372"/>
                  <a:pt x="1882524" y="623837"/>
                </a:cubicBezTo>
                <a:cubicBezTo>
                  <a:pt x="1882524" y="321609"/>
                  <a:pt x="2098116" y="69535"/>
                  <a:pt x="2384518" y="11239"/>
                </a:cubicBezTo>
                <a:close/>
              </a:path>
            </a:pathLst>
          </a:custGeom>
          <a:solidFill>
            <a:srgbClr val="F39678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5" name="Krone">
            <a:extLst>
              <a:ext uri="{FF2B5EF4-FFF2-40B4-BE49-F238E27FC236}">
                <a16:creationId xmlns:a16="http://schemas.microsoft.com/office/drawing/2014/main" id="{BF531D83-06D7-4122-82CA-B776865B947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40000" y="6310800"/>
            <a:ext cx="248400" cy="2448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  <a:lvl2pPr marL="216000" indent="0">
              <a:buNone/>
              <a:defRPr sz="100">
                <a:noFill/>
              </a:defRPr>
            </a:lvl2pPr>
            <a:lvl3pPr marL="432000" indent="0">
              <a:buNone/>
              <a:defRPr sz="100">
                <a:noFill/>
              </a:defRPr>
            </a:lvl3pPr>
            <a:lvl4pPr>
              <a:buNone/>
              <a:defRPr sz="100">
                <a:noFill/>
              </a:defRPr>
            </a:lvl4pPr>
            <a:lvl5pPr>
              <a:buNone/>
              <a:defRPr sz="100">
                <a:noFill/>
              </a:defRPr>
            </a:lvl5pPr>
          </a:lstStyle>
          <a:p>
            <a:pPr lvl="0"/>
            <a:r>
              <a:rPr lang="da-DK" dirty="0"/>
              <a:t>Edit Master </a:t>
            </a:r>
            <a:r>
              <a:rPr lang="da-DK" dirty="0" err="1"/>
              <a:t>text</a:t>
            </a:r>
            <a:r>
              <a:rPr lang="da-DK" dirty="0"/>
              <a:t> styles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r>
              <a:rPr lang="da-DK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29022683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spalter A (tekst/billed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591138"/>
            <a:ext cx="7288213" cy="898297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>Klik for at tilføje titel</a:t>
            </a:r>
            <a:endParaRPr lang="da-DK" noProof="0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6810C78A-23C9-4426-9672-56EAFB0CECFC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539750" y="1053909"/>
            <a:ext cx="7288214" cy="435525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-DK" dirty="0"/>
              <a:t>Klik for at tilføje underoverskrift i en linj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quarter" idx="13" hasCustomPrompt="1"/>
          </p:nvPr>
        </p:nvSpPr>
        <p:spPr>
          <a:xfrm>
            <a:off x="539749" y="1818000"/>
            <a:ext cx="5375276" cy="428276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noProof="0" dirty="0"/>
              <a:t>Klik for at tilføje tekst</a:t>
            </a:r>
          </a:p>
          <a:p>
            <a:pPr lvl="1"/>
            <a:r>
              <a:rPr lang="da-DK" noProof="0" dirty="0"/>
              <a:t>Secon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2"/>
            <a:r>
              <a:rPr lang="da-DK" noProof="0" dirty="0"/>
              <a:t>Thir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3"/>
            <a:r>
              <a:rPr lang="da-DK" noProof="0" dirty="0" err="1"/>
              <a:t>Fourth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4"/>
            <a:r>
              <a:rPr lang="da-DK" noProof="0" dirty="0"/>
              <a:t>Fifth </a:t>
            </a:r>
            <a:r>
              <a:rPr lang="da-DK" noProof="0" dirty="0" err="1"/>
              <a:t>level</a:t>
            </a:r>
            <a:endParaRPr lang="da-DK" noProof="0" dirty="0"/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275389" y="1871663"/>
            <a:ext cx="5373686" cy="4229100"/>
          </a:xfrm>
          <a:solidFill>
            <a:schemeClr val="bg2"/>
          </a:solidFill>
        </p:spPr>
        <p:txBody>
          <a:bodyPr tIns="648000" anchor="ctr" anchorCtr="0"/>
          <a:lstStyle>
            <a:lvl1pPr marL="0" indent="0" algn="ctr">
              <a:buNone/>
              <a:defRPr sz="1500"/>
            </a:lvl1pPr>
          </a:lstStyle>
          <a:p>
            <a:r>
              <a:rPr lang="da-DK" noProof="0" dirty="0"/>
              <a:t>Klik på ikonet for at tilføje billede eller grafik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F2E72B64-D55D-4FBA-AB42-4C2CA5D3CF6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2E6EF1BD-6BFA-4CAD-8FA8-4A2AA1AE1A36}" type="datetime2">
              <a:rPr lang="da-DK" smtClean="0"/>
              <a:t>28. marts 2023</a:t>
            </a:fld>
            <a:endParaRPr lang="da-DK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3ACC3765-6ADF-4B65-9AFB-C50473B973C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659E3BFE-B339-4298-976D-1CB2ABBC25E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a-DK" dirty="0"/>
              <a:t>Side </a:t>
            </a:r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78879395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spalter A (tekst/graf etc.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591138"/>
            <a:ext cx="7288213" cy="898297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>Klik for at tilføje titel</a:t>
            </a:r>
            <a:endParaRPr lang="da-DK" noProof="0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6810C78A-23C9-4426-9672-56EAFB0CECFC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539750" y="1053909"/>
            <a:ext cx="7288214" cy="435525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-DK" dirty="0"/>
              <a:t>Klik for at tilføje underoverskrift i en linj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quarter" idx="13" hasCustomPrompt="1"/>
          </p:nvPr>
        </p:nvSpPr>
        <p:spPr>
          <a:xfrm>
            <a:off x="539749" y="1818000"/>
            <a:ext cx="5375276" cy="428276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tilføje tekst eller klik på tabel-/graf-/SmartArt- eller video-ikon for at indsætte objekt. For at indsætte billede, skift til layout: To spalter A (tekst/billede)</a:t>
            </a:r>
            <a:endParaRPr lang="da-DK" noProof="0" dirty="0"/>
          </a:p>
          <a:p>
            <a:pPr lvl="1"/>
            <a:r>
              <a:rPr lang="da-DK" noProof="0" dirty="0"/>
              <a:t>Secon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2"/>
            <a:r>
              <a:rPr lang="da-DK" noProof="0" dirty="0"/>
              <a:t>Thir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3"/>
            <a:r>
              <a:rPr lang="da-DK" noProof="0" dirty="0" err="1"/>
              <a:t>Fourth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4"/>
            <a:r>
              <a:rPr lang="da-DK" noProof="0" dirty="0"/>
              <a:t>Fifth </a:t>
            </a:r>
            <a:r>
              <a:rPr lang="da-DK" noProof="0" dirty="0" err="1"/>
              <a:t>level</a:t>
            </a:r>
            <a:endParaRPr lang="da-DK" noProof="0" dirty="0"/>
          </a:p>
        </p:txBody>
      </p:sp>
      <p:sp>
        <p:nvSpPr>
          <p:cNvPr id="13" name="Content Placeholder 13">
            <a:extLst>
              <a:ext uri="{FF2B5EF4-FFF2-40B4-BE49-F238E27FC236}">
                <a16:creationId xmlns:a16="http://schemas.microsoft.com/office/drawing/2014/main" id="{7583199B-5647-449E-90B4-9FCBFAD89242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275388" y="1818000"/>
            <a:ext cx="5373685" cy="4282763"/>
          </a:xfrm>
        </p:spPr>
        <p:txBody>
          <a:bodyPr/>
          <a:lstStyle>
            <a:lvl1pPr marL="216000" marR="0" indent="-216000" algn="l" defTabSz="914400" rtl="0" eaLnBrk="1" fontAlgn="auto" latinLnBrk="0" hangingPunct="1">
              <a:lnSpc>
                <a:spcPct val="11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</a:lstStyle>
          <a:p>
            <a:pPr marL="216000" marR="0" lvl="0" indent="-216000" algn="l" defTabSz="914400" rtl="0" eaLnBrk="1" fontAlgn="auto" latinLnBrk="0" hangingPunct="1">
              <a:lnSpc>
                <a:spcPct val="11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 dirty="0"/>
              <a:t>Klik for at tilføje tekst eller klik på tabel-/graf-/SmartArt- eller video-ikon for at indsætte objekt. For at indsætte billede, skift til layout: To spalter A (tekst/billede)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F2E72B64-D55D-4FBA-AB42-4C2CA5D3CF6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5B7D3CBA-627F-4FC4-AF3B-15AB2A738811}" type="datetime2">
              <a:rPr lang="da-DK" smtClean="0"/>
              <a:t>28. marts 2023</a:t>
            </a:fld>
            <a:endParaRPr lang="da-DK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3ACC3765-6ADF-4B65-9AFB-C50473B973C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659E3BFE-B339-4298-976D-1CB2ABBC25E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a-DK" dirty="0"/>
              <a:t>Side </a:t>
            </a:r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57869466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spalter B (tekst/billed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591138"/>
            <a:ext cx="7288213" cy="898297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>Klik for at tilføje titel</a:t>
            </a:r>
            <a:endParaRPr lang="da-DK" noProof="0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6810C78A-23C9-4426-9672-56EAFB0CECFC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539750" y="1053909"/>
            <a:ext cx="7288214" cy="435525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-DK" dirty="0"/>
              <a:t>Klik for at tilføje underoverskrift i en linj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quarter" idx="13" hasCustomPrompt="1"/>
          </p:nvPr>
        </p:nvSpPr>
        <p:spPr>
          <a:xfrm>
            <a:off x="539749" y="1818000"/>
            <a:ext cx="3463926" cy="428276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noProof="0" dirty="0"/>
              <a:t>Klik for at tilføje tekst</a:t>
            </a:r>
          </a:p>
          <a:p>
            <a:pPr lvl="1"/>
            <a:r>
              <a:rPr lang="da-DK" noProof="0" dirty="0"/>
              <a:t>Secon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2"/>
            <a:r>
              <a:rPr lang="da-DK" noProof="0" dirty="0"/>
              <a:t>Thir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3"/>
            <a:r>
              <a:rPr lang="da-DK" noProof="0" dirty="0" err="1"/>
              <a:t>Fourth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4"/>
            <a:r>
              <a:rPr lang="da-DK" noProof="0" dirty="0"/>
              <a:t>Fifth </a:t>
            </a:r>
            <a:r>
              <a:rPr lang="da-DK" noProof="0" dirty="0" err="1"/>
              <a:t>level</a:t>
            </a:r>
            <a:endParaRPr lang="da-DK" noProof="0" dirty="0"/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62450" y="1871663"/>
            <a:ext cx="7288213" cy="4229100"/>
          </a:xfrm>
          <a:solidFill>
            <a:schemeClr val="bg2"/>
          </a:solidFill>
        </p:spPr>
        <p:txBody>
          <a:bodyPr tIns="648000" anchor="ctr" anchorCtr="0"/>
          <a:lstStyle>
            <a:lvl1pPr marL="0" indent="0" algn="ctr">
              <a:buNone/>
              <a:defRPr sz="1500"/>
            </a:lvl1pPr>
          </a:lstStyle>
          <a:p>
            <a:r>
              <a:rPr lang="da-DK" noProof="0" dirty="0"/>
              <a:t>Klik på ikonet for at tilføje billede eller grafik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F2E72B64-D55D-4FBA-AB42-4C2CA5D3CF6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1F1E519E-B887-45D1-BFB6-DC7A1A4C6C01}" type="datetime2">
              <a:rPr lang="da-DK" smtClean="0"/>
              <a:t>28. marts 2023</a:t>
            </a:fld>
            <a:endParaRPr lang="da-DK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3ACC3765-6ADF-4B65-9AFB-C50473B973C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659E3BFE-B339-4298-976D-1CB2ABBC25E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a-DK" dirty="0"/>
              <a:t>Side </a:t>
            </a:r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42570832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spalter B (tekst/graf etc.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591138"/>
            <a:ext cx="7288213" cy="898297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>Klik for at tilføje titel</a:t>
            </a:r>
            <a:endParaRPr lang="da-DK" noProof="0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6810C78A-23C9-4426-9672-56EAFB0CECFC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539750" y="1053909"/>
            <a:ext cx="7288214" cy="435525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-DK" dirty="0"/>
              <a:t>Klik for at tilføje underoverskrift i en linj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quarter" idx="13" hasCustomPrompt="1"/>
          </p:nvPr>
        </p:nvSpPr>
        <p:spPr>
          <a:xfrm>
            <a:off x="539749" y="1818000"/>
            <a:ext cx="3463926" cy="4282763"/>
          </a:xfrm>
        </p:spPr>
        <p:txBody>
          <a:bodyPr/>
          <a:lstStyle>
            <a:lvl1pPr marL="216000" marR="0" indent="-216000" algn="l" defTabSz="914400" rtl="0" eaLnBrk="1" fontAlgn="auto" latinLnBrk="0" hangingPunct="1">
              <a:lnSpc>
                <a:spcPct val="11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</a:lstStyle>
          <a:p>
            <a:pPr marL="216000" marR="0" lvl="0" indent="-216000" algn="l" defTabSz="914400" rtl="0" eaLnBrk="1" fontAlgn="auto" latinLnBrk="0" hangingPunct="1">
              <a:lnSpc>
                <a:spcPct val="11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 dirty="0"/>
              <a:t>Klik for at tilføje tekst eller klik på tabel-/graf-/SmartArt- eller video-ikon for at indsætte objekt. For at indsætte billede, skift til layout: To spalter B (tekst/billede)</a:t>
            </a:r>
          </a:p>
          <a:p>
            <a:pPr lvl="0"/>
            <a:endParaRPr lang="da-DK" noProof="0" dirty="0"/>
          </a:p>
          <a:p>
            <a:pPr lvl="1"/>
            <a:r>
              <a:rPr lang="da-DK" noProof="0" dirty="0"/>
              <a:t>Secon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2"/>
            <a:r>
              <a:rPr lang="da-DK" noProof="0" dirty="0"/>
              <a:t>Thir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3"/>
            <a:r>
              <a:rPr lang="da-DK" noProof="0" dirty="0" err="1"/>
              <a:t>Fourth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4"/>
            <a:r>
              <a:rPr lang="da-DK" noProof="0" dirty="0"/>
              <a:t>Fifth </a:t>
            </a:r>
            <a:r>
              <a:rPr lang="da-DK" noProof="0" dirty="0" err="1"/>
              <a:t>level</a:t>
            </a:r>
            <a:endParaRPr lang="da-DK" noProof="0" dirty="0"/>
          </a:p>
        </p:txBody>
      </p:sp>
      <p:sp>
        <p:nvSpPr>
          <p:cNvPr id="13" name="Content Placeholder 13">
            <a:extLst>
              <a:ext uri="{FF2B5EF4-FFF2-40B4-BE49-F238E27FC236}">
                <a16:creationId xmlns:a16="http://schemas.microsoft.com/office/drawing/2014/main" id="{7583199B-5647-449E-90B4-9FCBFAD89242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362450" y="1818001"/>
            <a:ext cx="7288213" cy="42827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tilføje tekst eller klik på tabel-/graf-/SmartArt- eller video-ikon for at indsætte objekt. For at indsætte billede, skift til layout: To spalter B (tekst/billede)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F2E72B64-D55D-4FBA-AB42-4C2CA5D3CF6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D4F466F6-500E-42EF-BFFE-6FB140942833}" type="datetime2">
              <a:rPr lang="da-DK" smtClean="0"/>
              <a:t>28. marts 2023</a:t>
            </a:fld>
            <a:endParaRPr lang="da-DK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3ACC3765-6ADF-4B65-9AFB-C50473B973C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659E3BFE-B339-4298-976D-1CB2ABBC25E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a-DK" dirty="0"/>
              <a:t>Side </a:t>
            </a:r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71412928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´Tre spalter (tekst/billed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591138"/>
            <a:ext cx="7288213" cy="898297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>Klik for at tilføje titel</a:t>
            </a:r>
            <a:endParaRPr lang="da-DK" noProof="0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6810C78A-23C9-4426-9672-56EAFB0CECFC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539750" y="1053909"/>
            <a:ext cx="7288214" cy="435525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-DK" dirty="0"/>
              <a:t>Klik for at tilføje underoverskrift i en linj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quarter" idx="13" hasCustomPrompt="1"/>
          </p:nvPr>
        </p:nvSpPr>
        <p:spPr>
          <a:xfrm>
            <a:off x="539749" y="1818000"/>
            <a:ext cx="3463925" cy="4284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noProof="0" dirty="0"/>
              <a:t>Klik for at tilføje tekst</a:t>
            </a:r>
          </a:p>
          <a:p>
            <a:pPr lvl="1"/>
            <a:r>
              <a:rPr lang="da-DK" noProof="0" dirty="0"/>
              <a:t>Secon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2"/>
            <a:r>
              <a:rPr lang="da-DK" noProof="0" dirty="0"/>
              <a:t>Thir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3"/>
            <a:r>
              <a:rPr lang="da-DK" noProof="0" dirty="0" err="1"/>
              <a:t>Fourth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4"/>
            <a:r>
              <a:rPr lang="da-DK" noProof="0" dirty="0"/>
              <a:t>Fifth </a:t>
            </a:r>
            <a:r>
              <a:rPr lang="da-DK" noProof="0" dirty="0" err="1"/>
              <a:t>level</a:t>
            </a:r>
            <a:endParaRPr lang="da-DK" noProof="0" dirty="0"/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62450" y="1871663"/>
            <a:ext cx="3463200" cy="4229100"/>
          </a:xfrm>
          <a:solidFill>
            <a:schemeClr val="bg2"/>
          </a:solidFill>
        </p:spPr>
        <p:txBody>
          <a:bodyPr lIns="360000" tIns="900000" rIns="360000" anchor="ctr" anchorCtr="0"/>
          <a:lstStyle>
            <a:lvl1pPr marL="0" indent="0" algn="ctr">
              <a:buNone/>
              <a:defRPr sz="1500"/>
            </a:lvl1pPr>
          </a:lstStyle>
          <a:p>
            <a:r>
              <a:rPr lang="da-DK" noProof="0" dirty="0"/>
              <a:t>Klik på ikonet for at tilføje billede eller grafik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902E80B0-27A7-4F1F-8447-70F659FCD333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8186737" y="1871663"/>
            <a:ext cx="3463926" cy="4229100"/>
          </a:xfrm>
          <a:solidFill>
            <a:schemeClr val="bg2"/>
          </a:solidFill>
        </p:spPr>
        <p:txBody>
          <a:bodyPr lIns="360000" tIns="900000" rIns="360000" anchor="ctr" anchorCtr="0"/>
          <a:lstStyle>
            <a:lvl1pPr marL="0" marR="0" indent="0" algn="ctr" defTabSz="914400" rtl="0" eaLnBrk="1" fontAlgn="auto" latinLnBrk="0" hangingPunct="1">
              <a:lnSpc>
                <a:spcPct val="11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1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noProof="0" dirty="0"/>
              <a:t>Klik på ikonet for at tilføje billede eller grafik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F2E72B64-D55D-4FBA-AB42-4C2CA5D3CF6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DB11236A-A93E-45E9-A764-B5D1921D6616}" type="datetime2">
              <a:rPr lang="da-DK" smtClean="0"/>
              <a:t>28. marts 2023</a:t>
            </a:fld>
            <a:endParaRPr lang="da-DK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3ACC3765-6ADF-4B65-9AFB-C50473B973C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659E3BFE-B339-4298-976D-1CB2ABBC25E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a-DK" dirty="0"/>
              <a:t>Side </a:t>
            </a:r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2565980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delt     (tekst/graf etc.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591138"/>
            <a:ext cx="7288213" cy="898297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>Klik for at tilføje titel</a:t>
            </a:r>
            <a:endParaRPr lang="da-DK" noProof="0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6810C78A-23C9-4426-9672-56EAFB0CECFC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539750" y="1053909"/>
            <a:ext cx="7288214" cy="435525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-DK" dirty="0"/>
              <a:t>Klik for at tilføje underoverskrift i en linj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quarter" idx="13" hasCustomPrompt="1"/>
          </p:nvPr>
        </p:nvSpPr>
        <p:spPr>
          <a:xfrm>
            <a:off x="539749" y="1818000"/>
            <a:ext cx="7288214" cy="428276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tilføje tekst eller klik på tabel-/graf-/SmartArt- eller video-ikon for at indsætte objekt. For at indsætte billede, skift til layout Todelt #1 (tekst/billede)</a:t>
            </a:r>
            <a:endParaRPr lang="da-DK" noProof="0" dirty="0"/>
          </a:p>
          <a:p>
            <a:pPr lvl="1"/>
            <a:r>
              <a:rPr lang="da-DK" noProof="0" dirty="0"/>
              <a:t>Secon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2"/>
            <a:r>
              <a:rPr lang="da-DK" noProof="0" dirty="0"/>
              <a:t>Thir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3"/>
            <a:r>
              <a:rPr lang="da-DK" noProof="0" dirty="0" err="1"/>
              <a:t>Fourth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4"/>
            <a:r>
              <a:rPr lang="da-DK" noProof="0" dirty="0"/>
              <a:t>Fifth </a:t>
            </a:r>
            <a:r>
              <a:rPr lang="da-DK" noProof="0" dirty="0" err="1"/>
              <a:t>level</a:t>
            </a:r>
            <a:endParaRPr lang="da-DK" noProof="0" dirty="0"/>
          </a:p>
        </p:txBody>
      </p:sp>
      <p:sp>
        <p:nvSpPr>
          <p:cNvPr id="13" name="Content Placeholder 13">
            <a:extLst>
              <a:ext uri="{FF2B5EF4-FFF2-40B4-BE49-F238E27FC236}">
                <a16:creationId xmlns:a16="http://schemas.microsoft.com/office/drawing/2014/main" id="{7583199B-5647-449E-90B4-9FCBFAD89242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8186737" y="1818001"/>
            <a:ext cx="3463926" cy="428276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tilføje tekst eller klik på tabel-/graf-/SmartArt- eller video-ikon for at indsætte objekt. For at indsætte billede, skift til layout: Todelt (tekst/billede)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F2E72B64-D55D-4FBA-AB42-4C2CA5D3CF6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7F1C7F70-96F6-48AB-A351-4783B2B17540}" type="datetime2">
              <a:rPr lang="da-DK" smtClean="0"/>
              <a:t>28. marts 2023</a:t>
            </a:fld>
            <a:endParaRPr lang="da-DK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3ACC3765-6ADF-4B65-9AFB-C50473B973C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a-DK"/>
              <a:t>Arbejdsområder og -opgaver i LEU og ASK</a:t>
            </a:r>
            <a:endParaRPr lang="da-DK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659E3BFE-B339-4298-976D-1CB2ABBC25E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a-DK" dirty="0"/>
              <a:t>Side </a:t>
            </a:r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77223199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spalter (tekst/grafer etc.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591138"/>
            <a:ext cx="7288213" cy="898297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>Klik for at tilføje titel</a:t>
            </a:r>
            <a:endParaRPr lang="da-DK" noProof="0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6810C78A-23C9-4426-9672-56EAFB0CECFC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539750" y="1053909"/>
            <a:ext cx="7288213" cy="435525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-DK" dirty="0"/>
              <a:t>Klik for at tilføje underoverskrift i en linj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quarter" idx="13" hasCustomPrompt="1"/>
          </p:nvPr>
        </p:nvSpPr>
        <p:spPr>
          <a:xfrm>
            <a:off x="539750" y="1818000"/>
            <a:ext cx="3463925" cy="4284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tilføje tekst eller klik på tabel-/graf-/SmartArt- eller video-ikon for at indsætte objekt. For at indsætte billede, skift til layout: Tre spalter (tekst/billede)</a:t>
            </a:r>
            <a:endParaRPr lang="da-DK" noProof="0" dirty="0"/>
          </a:p>
          <a:p>
            <a:pPr lvl="1"/>
            <a:r>
              <a:rPr lang="da-DK" noProof="0" dirty="0"/>
              <a:t>Secon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2"/>
            <a:r>
              <a:rPr lang="da-DK" noProof="0" dirty="0"/>
              <a:t>Thir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3"/>
            <a:r>
              <a:rPr lang="da-DK" noProof="0" dirty="0" err="1"/>
              <a:t>Fourth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4"/>
            <a:r>
              <a:rPr lang="da-DK" noProof="0" dirty="0"/>
              <a:t>Fifth </a:t>
            </a:r>
            <a:r>
              <a:rPr lang="da-DK" noProof="0" dirty="0" err="1"/>
              <a:t>level</a:t>
            </a:r>
            <a:endParaRPr lang="da-DK" noProof="0" dirty="0"/>
          </a:p>
        </p:txBody>
      </p:sp>
      <p:sp>
        <p:nvSpPr>
          <p:cNvPr id="13" name="Content Placeholder 13">
            <a:extLst>
              <a:ext uri="{FF2B5EF4-FFF2-40B4-BE49-F238E27FC236}">
                <a16:creationId xmlns:a16="http://schemas.microsoft.com/office/drawing/2014/main" id="{7583199B-5647-449E-90B4-9FCBFAD89242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362450" y="1818000"/>
            <a:ext cx="3463200" cy="4284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tilføje tekst eller klik på tabel-/graf-/SmartArt- eller video-ikon for at indsætte objekt. For at indsætte billede, skift til layout: Tre spalter (tekst/billede)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76EEC813-1AA2-40B5-98B4-D25FA0A0A659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8186737" y="1818000"/>
            <a:ext cx="3463926" cy="4284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tilføje tekst eller klik på tabel-/graf-/SmartArt- eller video-ikon for at indsætte objekt. For at indsætte billede, skift til layout: Tre spalter (tekst/billede)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F2E72B64-D55D-4FBA-AB42-4C2CA5D3CF6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1C59B7D2-10D7-4D85-8BBB-DCEF9D2AD537}" type="datetime2">
              <a:rPr lang="da-DK" smtClean="0"/>
              <a:t>28. marts 2023</a:t>
            </a:fld>
            <a:endParaRPr lang="da-DK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3ACC3765-6ADF-4B65-9AFB-C50473B973C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659E3BFE-B339-4298-976D-1CB2ABBC25E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a-DK" dirty="0"/>
              <a:t>Side </a:t>
            </a:r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68010401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spalter (tekst/billed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591138"/>
            <a:ext cx="7288213" cy="898297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>Klik for at tilføje titel</a:t>
            </a:r>
            <a:endParaRPr lang="da-DK" noProof="0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6810C78A-23C9-4426-9672-56EAFB0CECFC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539750" y="1053909"/>
            <a:ext cx="7288214" cy="435525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-DK" dirty="0"/>
              <a:t>Klik for at tilføje underoverskrift i en linj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quarter" idx="13" hasCustomPrompt="1"/>
          </p:nvPr>
        </p:nvSpPr>
        <p:spPr>
          <a:xfrm>
            <a:off x="539750" y="1818000"/>
            <a:ext cx="2505600" cy="4284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noProof="0" dirty="0"/>
              <a:t>Klik for at tilføje tekst</a:t>
            </a:r>
          </a:p>
          <a:p>
            <a:pPr lvl="1"/>
            <a:r>
              <a:rPr lang="da-DK" noProof="0" dirty="0"/>
              <a:t>Secon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2"/>
            <a:r>
              <a:rPr lang="da-DK" noProof="0" dirty="0"/>
              <a:t>Thir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3"/>
            <a:r>
              <a:rPr lang="da-DK" noProof="0" dirty="0" err="1"/>
              <a:t>Fourth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4"/>
            <a:r>
              <a:rPr lang="da-DK" noProof="0" dirty="0"/>
              <a:t>Fifth </a:t>
            </a:r>
            <a:r>
              <a:rPr lang="da-DK" noProof="0" dirty="0" err="1"/>
              <a:t>level</a:t>
            </a:r>
            <a:endParaRPr lang="da-DK" noProof="0" dirty="0"/>
          </a:p>
        </p:txBody>
      </p:sp>
      <p:sp>
        <p:nvSpPr>
          <p:cNvPr id="13" name="Content Placeholder 13">
            <a:extLst>
              <a:ext uri="{FF2B5EF4-FFF2-40B4-BE49-F238E27FC236}">
                <a16:creationId xmlns:a16="http://schemas.microsoft.com/office/drawing/2014/main" id="{7583199B-5647-449E-90B4-9FCBFAD89242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278560" y="1818000"/>
            <a:ext cx="2504917" cy="4284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tilføj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E20DCD1B-1F5E-4F5B-9B82-1C62ABAB80C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409949" y="1871663"/>
            <a:ext cx="2505076" cy="4229100"/>
          </a:xfrm>
          <a:solidFill>
            <a:schemeClr val="bg2"/>
          </a:solidFill>
        </p:spPr>
        <p:txBody>
          <a:bodyPr tIns="900000" anchor="ctr" anchorCtr="0"/>
          <a:lstStyle>
            <a:lvl1pPr marL="0" indent="0" algn="ctr">
              <a:buNone/>
              <a:defRPr sz="1500"/>
            </a:lvl1pPr>
          </a:lstStyle>
          <a:p>
            <a:r>
              <a:rPr lang="da-DK" noProof="0" dirty="0"/>
              <a:t>Klik på ikonet for at tilføje  billede eller grafik</a:t>
            </a:r>
          </a:p>
        </p:txBody>
      </p:sp>
      <p:sp>
        <p:nvSpPr>
          <p:cNvPr id="17" name="Picture Placeholder 5">
            <a:extLst>
              <a:ext uri="{FF2B5EF4-FFF2-40B4-BE49-F238E27FC236}">
                <a16:creationId xmlns:a16="http://schemas.microsoft.com/office/drawing/2014/main" id="{9A6F2E00-4ACC-4306-80E9-3676A532814E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9148235" y="1871663"/>
            <a:ext cx="2502428" cy="4229100"/>
          </a:xfrm>
          <a:solidFill>
            <a:schemeClr val="bg2"/>
          </a:solidFill>
        </p:spPr>
        <p:txBody>
          <a:bodyPr tIns="900000" anchor="ctr" anchorCtr="0"/>
          <a:lstStyle>
            <a:lvl1pPr marL="0" indent="0" algn="ctr">
              <a:buNone/>
              <a:defRPr/>
            </a:lvl1pPr>
          </a:lstStyle>
          <a:p>
            <a:r>
              <a:rPr lang="da-DK" noProof="0" dirty="0"/>
              <a:t>Klik på ikonet for at tilføje  billede eller grafik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F2E72B64-D55D-4FBA-AB42-4C2CA5D3CF6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7BA7FC09-98DB-4E8A-BDFC-24B1EE962648}" type="datetime2">
              <a:rPr lang="da-DK" smtClean="0"/>
              <a:t>28. marts 2023</a:t>
            </a:fld>
            <a:endParaRPr lang="da-DK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3ACC3765-6ADF-4B65-9AFB-C50473B973C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659E3BFE-B339-4298-976D-1CB2ABBC25E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a-DK" dirty="0"/>
              <a:t>Side </a:t>
            </a:r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02487341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spalter (tekst/grafer etc.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591138"/>
            <a:ext cx="7288213" cy="898297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>Klik for at tilføje titel</a:t>
            </a:r>
            <a:endParaRPr lang="da-DK" noProof="0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6810C78A-23C9-4426-9672-56EAFB0CECFC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539750" y="1053909"/>
            <a:ext cx="7288214" cy="435525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-DK" dirty="0"/>
              <a:t>Klik for at tilføje underoverskrift i en linj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quarter" idx="13" hasCustomPrompt="1"/>
          </p:nvPr>
        </p:nvSpPr>
        <p:spPr>
          <a:xfrm>
            <a:off x="539750" y="1818000"/>
            <a:ext cx="2505600" cy="4284000"/>
          </a:xfrm>
        </p:spPr>
        <p:txBody>
          <a:bodyPr/>
          <a:lstStyle>
            <a:lvl1pPr marL="216000" marR="0" indent="-216000" algn="l" defTabSz="914400" rtl="0" eaLnBrk="1" fontAlgn="auto" latinLnBrk="0" hangingPunct="1">
              <a:lnSpc>
                <a:spcPct val="11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</a:lstStyle>
          <a:p>
            <a:pPr marL="216000" marR="0" lvl="0" indent="-216000" algn="l" defTabSz="914400" rtl="0" eaLnBrk="1" fontAlgn="auto" latinLnBrk="0" hangingPunct="1">
              <a:lnSpc>
                <a:spcPct val="11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 dirty="0"/>
              <a:t>Klik for at tilføje tekst eller klik på tabel-/graf-/SmartArt- eller video-ikon for at indsætte objekt. For at indsætte billede, skift til layout: Fire spalter (tekst/billede)</a:t>
            </a:r>
          </a:p>
          <a:p>
            <a:pPr lvl="0"/>
            <a:endParaRPr lang="da-DK" noProof="0" dirty="0"/>
          </a:p>
          <a:p>
            <a:pPr lvl="1"/>
            <a:r>
              <a:rPr lang="da-DK" noProof="0" dirty="0"/>
              <a:t>Secon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2"/>
            <a:r>
              <a:rPr lang="da-DK" noProof="0" dirty="0"/>
              <a:t>Thir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3"/>
            <a:r>
              <a:rPr lang="da-DK" noProof="0" dirty="0" err="1"/>
              <a:t>Fourth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4"/>
            <a:r>
              <a:rPr lang="da-DK" noProof="0" dirty="0"/>
              <a:t>Fifth </a:t>
            </a:r>
            <a:r>
              <a:rPr lang="da-DK" noProof="0" dirty="0" err="1"/>
              <a:t>level</a:t>
            </a:r>
            <a:endParaRPr lang="da-DK" noProof="0" dirty="0"/>
          </a:p>
        </p:txBody>
      </p:sp>
      <p:sp>
        <p:nvSpPr>
          <p:cNvPr id="13" name="Content Placeholder 13">
            <a:extLst>
              <a:ext uri="{FF2B5EF4-FFF2-40B4-BE49-F238E27FC236}">
                <a16:creationId xmlns:a16="http://schemas.microsoft.com/office/drawing/2014/main" id="{7583199B-5647-449E-90B4-9FCBFAD89242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409949" y="1818000"/>
            <a:ext cx="2505076" cy="4284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tilføje tekst eller klik på tabel-/graf-/SmartArt- eller video-ikon for at indsætte objekt. For at indsætte billede, skift til layout: Fire spalter (tekst/billede)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76EEC813-1AA2-40B5-98B4-D25FA0A0A659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278400" y="1818000"/>
            <a:ext cx="2505600" cy="4284000"/>
          </a:xfrm>
        </p:spPr>
        <p:txBody>
          <a:bodyPr/>
          <a:lstStyle>
            <a:lvl1pPr marL="216000" marR="0" indent="-216000" algn="l" defTabSz="914400" rtl="0" eaLnBrk="1" fontAlgn="auto" latinLnBrk="0" hangingPunct="1">
              <a:lnSpc>
                <a:spcPct val="11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</a:lstStyle>
          <a:p>
            <a:pPr marL="216000" marR="0" lvl="0" indent="-216000" algn="l" defTabSz="914400" rtl="0" eaLnBrk="1" fontAlgn="auto" latinLnBrk="0" hangingPunct="1">
              <a:lnSpc>
                <a:spcPct val="11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 dirty="0"/>
              <a:t>Klik for at tilføje tekst eller klik på tabel-/graf-/SmartArt- eller video-ikon for at indsætte objekt. For at indsætte billede, skift til layout: Fire spalter (tekst/billede)</a:t>
            </a:r>
          </a:p>
          <a:p>
            <a:pPr lvl="0"/>
            <a:endParaRPr lang="da-DK" dirty="0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5" name="Content Placeholder 17">
            <a:extLst>
              <a:ext uri="{FF2B5EF4-FFF2-40B4-BE49-F238E27FC236}">
                <a16:creationId xmlns:a16="http://schemas.microsoft.com/office/drawing/2014/main" id="{05244590-E9D2-4C41-904B-948D1D43068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9143999" y="1818000"/>
            <a:ext cx="2506664" cy="4284000"/>
          </a:xfrm>
        </p:spPr>
        <p:txBody>
          <a:bodyPr/>
          <a:lstStyle>
            <a:lvl1pPr marL="216000" marR="0" indent="-216000" algn="l" defTabSz="914400" rtl="0" eaLnBrk="1" fontAlgn="auto" latinLnBrk="0" hangingPunct="1">
              <a:lnSpc>
                <a:spcPct val="11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</a:lstStyle>
          <a:p>
            <a:pPr marL="216000" marR="0" lvl="0" indent="-216000" algn="l" defTabSz="914400" rtl="0" eaLnBrk="1" fontAlgn="auto" latinLnBrk="0" hangingPunct="1">
              <a:lnSpc>
                <a:spcPct val="11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 dirty="0"/>
              <a:t>Klik for at tilføje tekst eller klik på tabel-/graf-/SmartArt- eller video-ikon for at indsætte objekt. For at indsætte billede, skift til layout: Fire spalter (tekst/billede)</a:t>
            </a:r>
          </a:p>
          <a:p>
            <a:pPr lvl="0"/>
            <a:endParaRPr lang="da-DK" dirty="0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F2E72B64-D55D-4FBA-AB42-4C2CA5D3CF6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229A909B-2CD0-42E5-A87C-52C1AA1B5DD0}" type="datetime2">
              <a:rPr lang="da-DK" smtClean="0"/>
              <a:t>28. marts 2023</a:t>
            </a:fld>
            <a:endParaRPr lang="da-DK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3ACC3765-6ADF-4B65-9AFB-C50473B973C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659E3BFE-B339-4298-976D-1CB2ABBC25E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a-DK" dirty="0"/>
              <a:t>Side </a:t>
            </a:r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71330554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delt vandret (tekst/billed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591138"/>
            <a:ext cx="7288213" cy="898297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>Klik for at tilføje titel</a:t>
            </a:r>
            <a:endParaRPr lang="da-DK" noProof="0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6810C78A-23C9-4426-9672-56EAFB0CECFC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539750" y="1053909"/>
            <a:ext cx="7288214" cy="435525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-DK" dirty="0"/>
              <a:t>Klik for at tilføje underoverskrift i en linj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CD6E677-EECA-480F-ADE2-F0FCF30478D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39750" y="1818000"/>
            <a:ext cx="7288213" cy="281528"/>
          </a:xfrm>
        </p:spPr>
        <p:txBody>
          <a:bodyPr/>
          <a:lstStyle>
            <a:lvl1pPr marL="0" indent="0">
              <a:buNone/>
              <a:defRPr sz="1500" b="1"/>
            </a:lvl1pPr>
            <a:lvl2pPr marL="0" indent="0">
              <a:buNone/>
              <a:defRPr sz="1500" b="1"/>
            </a:lvl2pPr>
            <a:lvl3pPr marL="0" indent="0">
              <a:buNone/>
              <a:defRPr sz="1500" b="1"/>
            </a:lvl3pPr>
            <a:lvl4pPr>
              <a:buNone/>
              <a:defRPr sz="1500" b="1"/>
            </a:lvl4pPr>
            <a:lvl5pPr>
              <a:buNone/>
              <a:defRPr sz="1500" b="1"/>
            </a:lvl5pPr>
          </a:lstStyle>
          <a:p>
            <a:pPr lvl="0"/>
            <a:r>
              <a:rPr lang="da-DK" dirty="0"/>
              <a:t>Klik for at tilføje overskrift i en linje 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quarter" idx="13" hasCustomPrompt="1"/>
          </p:nvPr>
        </p:nvSpPr>
        <p:spPr>
          <a:xfrm>
            <a:off x="539749" y="2127600"/>
            <a:ext cx="7288213" cy="172619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noProof="0" dirty="0"/>
              <a:t>Klik for at tilføje tekst</a:t>
            </a:r>
          </a:p>
          <a:p>
            <a:pPr lvl="1"/>
            <a:r>
              <a:rPr lang="da-DK" noProof="0" dirty="0"/>
              <a:t>Secon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2"/>
            <a:r>
              <a:rPr lang="da-DK" noProof="0" dirty="0"/>
              <a:t>Thir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3"/>
            <a:r>
              <a:rPr lang="da-DK" noProof="0" dirty="0" err="1"/>
              <a:t>Fourth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4"/>
            <a:r>
              <a:rPr lang="da-DK" noProof="0" dirty="0"/>
              <a:t>Fifth </a:t>
            </a:r>
            <a:r>
              <a:rPr lang="da-DK" noProof="0" dirty="0" err="1"/>
              <a:t>level</a:t>
            </a:r>
            <a:endParaRPr lang="da-DK" noProof="0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6644B7F-9548-4E80-88EF-1FF0DA0DF78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39750" y="4062920"/>
            <a:ext cx="7288213" cy="280800"/>
          </a:xfrm>
        </p:spPr>
        <p:txBody>
          <a:bodyPr/>
          <a:lstStyle>
            <a:lvl1pPr marL="0" indent="0">
              <a:buNone/>
              <a:defRPr sz="1500" b="1"/>
            </a:lvl1pPr>
            <a:lvl2pPr marL="0" indent="0">
              <a:buNone/>
              <a:defRPr sz="1500" b="1"/>
            </a:lvl2pPr>
            <a:lvl3pPr marL="0" indent="0">
              <a:buNone/>
              <a:defRPr sz="1500" b="1"/>
            </a:lvl3pPr>
            <a:lvl4pPr>
              <a:buNone/>
              <a:defRPr sz="1500" b="1"/>
            </a:lvl4pPr>
            <a:lvl5pPr>
              <a:buNone/>
              <a:defRPr sz="1500" b="1"/>
            </a:lvl5pPr>
          </a:lstStyle>
          <a:p>
            <a:pPr lvl="0"/>
            <a:r>
              <a:rPr lang="da-DK" dirty="0"/>
              <a:t>Klik for at tilføje overskrift i en linje 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0211BB3E-7AF2-4B2A-8F0D-B71E8D63B405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539750" y="4374000"/>
            <a:ext cx="7288212" cy="1726763"/>
          </a:xfrm>
          <a:solidFill>
            <a:schemeClr val="bg2"/>
          </a:solidFill>
        </p:spPr>
        <p:txBody>
          <a:bodyPr tIns="648000" anchor="ctr" anchorCtr="0"/>
          <a:lstStyle>
            <a:lvl1pPr marL="0" indent="0" algn="ctr">
              <a:buNone/>
              <a:defRPr/>
            </a:lvl1pPr>
          </a:lstStyle>
          <a:p>
            <a:r>
              <a:rPr lang="da-DK" noProof="0" dirty="0"/>
              <a:t>Klik på ikonet for at tilføje billede eller grafik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F2E72B64-D55D-4FBA-AB42-4C2CA5D3CF6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0B4B8A48-C7BD-4336-871D-94022FBCED16}" type="datetime2">
              <a:rPr lang="da-DK" smtClean="0"/>
              <a:t>28. marts 2023</a:t>
            </a:fld>
            <a:endParaRPr lang="da-DK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3ACC3765-6ADF-4B65-9AFB-C50473B973C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659E3BFE-B339-4298-976D-1CB2ABBC25E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a-DK" dirty="0"/>
              <a:t>Side </a:t>
            </a:r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40099627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delt vandret (tekst/graf etc.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591138"/>
            <a:ext cx="7288213" cy="898297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>Klik for at tilføje titel</a:t>
            </a:r>
            <a:endParaRPr lang="da-DK" noProof="0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6810C78A-23C9-4426-9672-56EAFB0CECFC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539750" y="1053909"/>
            <a:ext cx="7288214" cy="435525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-DK" dirty="0"/>
              <a:t>Klik for at tilføje underoverskrift i en linj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CD6E677-EECA-480F-ADE2-F0FCF30478D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39750" y="1818000"/>
            <a:ext cx="7288213" cy="281528"/>
          </a:xfrm>
        </p:spPr>
        <p:txBody>
          <a:bodyPr/>
          <a:lstStyle>
            <a:lvl1pPr marL="0" indent="0">
              <a:buNone/>
              <a:defRPr sz="1500" b="1"/>
            </a:lvl1pPr>
            <a:lvl2pPr marL="0" indent="0">
              <a:buNone/>
              <a:defRPr sz="1500" b="1"/>
            </a:lvl2pPr>
            <a:lvl3pPr marL="0" indent="0">
              <a:buNone/>
              <a:defRPr sz="1500" b="1"/>
            </a:lvl3pPr>
            <a:lvl4pPr>
              <a:buNone/>
              <a:defRPr sz="1500" b="1"/>
            </a:lvl4pPr>
            <a:lvl5pPr>
              <a:buNone/>
              <a:defRPr sz="1500" b="1"/>
            </a:lvl5pPr>
          </a:lstStyle>
          <a:p>
            <a:pPr lvl="0"/>
            <a:r>
              <a:rPr lang="da-DK" dirty="0"/>
              <a:t>Klik for at tilføje overskrift i en linje 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quarter" idx="13" hasCustomPrompt="1"/>
          </p:nvPr>
        </p:nvSpPr>
        <p:spPr>
          <a:xfrm>
            <a:off x="539749" y="2127600"/>
            <a:ext cx="7288213" cy="172619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tilføje tekst eller klik på tabel-/graf-/SmartArt- eller video-ikon for at indsætte objekt. For at indsætte billede, skift til layout: Todelt vandret (tekst/billede)</a:t>
            </a:r>
            <a:endParaRPr lang="da-DK" noProof="0" dirty="0"/>
          </a:p>
          <a:p>
            <a:pPr lvl="1"/>
            <a:r>
              <a:rPr lang="da-DK" noProof="0" dirty="0"/>
              <a:t>Secon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2"/>
            <a:r>
              <a:rPr lang="da-DK" noProof="0" dirty="0"/>
              <a:t>Thir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3"/>
            <a:r>
              <a:rPr lang="da-DK" noProof="0" dirty="0" err="1"/>
              <a:t>Fourth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4"/>
            <a:r>
              <a:rPr lang="da-DK" noProof="0" dirty="0"/>
              <a:t>Fifth </a:t>
            </a:r>
            <a:r>
              <a:rPr lang="da-DK" noProof="0" dirty="0" err="1"/>
              <a:t>level</a:t>
            </a:r>
            <a:endParaRPr lang="da-DK" noProof="0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6644B7F-9548-4E80-88EF-1FF0DA0DF78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39750" y="4062920"/>
            <a:ext cx="7288213" cy="280800"/>
          </a:xfrm>
        </p:spPr>
        <p:txBody>
          <a:bodyPr/>
          <a:lstStyle>
            <a:lvl1pPr marL="0" indent="0">
              <a:buNone/>
              <a:defRPr sz="1500" b="1"/>
            </a:lvl1pPr>
            <a:lvl2pPr marL="0" indent="0">
              <a:buNone/>
              <a:defRPr sz="1500" b="1"/>
            </a:lvl2pPr>
            <a:lvl3pPr marL="0" indent="0">
              <a:buNone/>
              <a:defRPr sz="1500" b="1"/>
            </a:lvl3pPr>
            <a:lvl4pPr>
              <a:buNone/>
              <a:defRPr sz="1500" b="1"/>
            </a:lvl4pPr>
            <a:lvl5pPr>
              <a:buNone/>
              <a:defRPr sz="1500" b="1"/>
            </a:lvl5pPr>
          </a:lstStyle>
          <a:p>
            <a:pPr lvl="0"/>
            <a:r>
              <a:rPr lang="da-DK" dirty="0"/>
              <a:t>Klik for at tilføje overskrift i en linje </a:t>
            </a:r>
          </a:p>
        </p:txBody>
      </p:sp>
      <p:sp>
        <p:nvSpPr>
          <p:cNvPr id="13" name="Content Placeholder 13">
            <a:extLst>
              <a:ext uri="{FF2B5EF4-FFF2-40B4-BE49-F238E27FC236}">
                <a16:creationId xmlns:a16="http://schemas.microsoft.com/office/drawing/2014/main" id="{7583199B-5647-449E-90B4-9FCBFAD89242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39750" y="4374000"/>
            <a:ext cx="7288213" cy="172676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tilføje tekst eller klik på tabel-/graf-/SmartArt- eller video-ikon for at indsætte objekt. For at indsætte billede, skift til layout: Todelt vandret (tekst/billede)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659E3BFE-B339-4298-976D-1CB2ABBC25E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a-DK" dirty="0"/>
              <a:t>Side </a:t>
            </a:r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F2E72B64-D55D-4FBA-AB42-4C2CA5D3CF6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859D3A52-2ED8-44AC-91D3-10E0DBC17FD1}" type="datetime2">
              <a:rPr lang="da-DK" smtClean="0"/>
              <a:t>28. marts 2023</a:t>
            </a:fld>
            <a:endParaRPr lang="da-DK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3ACC3765-6ADF-4B65-9AFB-C50473B973C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22698120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delt (tekst/billed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591138"/>
            <a:ext cx="7288213" cy="898297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>Klik for at tilføje titel</a:t>
            </a:r>
            <a:endParaRPr lang="da-DK" noProof="0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6810C78A-23C9-4426-9672-56EAFB0CECFC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539750" y="1053909"/>
            <a:ext cx="7288214" cy="435525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-DK" dirty="0"/>
              <a:t>Klik for at tilføje underoverskrift i en linj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CD6E677-EECA-480F-ADE2-F0FCF30478D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39750" y="1818000"/>
            <a:ext cx="5375275" cy="281528"/>
          </a:xfrm>
        </p:spPr>
        <p:txBody>
          <a:bodyPr/>
          <a:lstStyle>
            <a:lvl1pPr marL="0" indent="0">
              <a:buNone/>
              <a:defRPr sz="1500" b="1"/>
            </a:lvl1pPr>
            <a:lvl2pPr marL="0" indent="0">
              <a:buNone/>
              <a:defRPr sz="1500" b="1"/>
            </a:lvl2pPr>
            <a:lvl3pPr marL="0" indent="0">
              <a:buNone/>
              <a:defRPr sz="1500" b="1"/>
            </a:lvl3pPr>
            <a:lvl4pPr>
              <a:buNone/>
              <a:defRPr sz="1500" b="1"/>
            </a:lvl4pPr>
            <a:lvl5pPr>
              <a:buNone/>
              <a:defRPr sz="1500" b="1"/>
            </a:lvl5pPr>
          </a:lstStyle>
          <a:p>
            <a:pPr lvl="0"/>
            <a:r>
              <a:rPr lang="da-DK" dirty="0"/>
              <a:t>Klik for at tilføje overskrift i en linje 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quarter" idx="13" hasCustomPrompt="1"/>
          </p:nvPr>
        </p:nvSpPr>
        <p:spPr>
          <a:xfrm>
            <a:off x="539749" y="2127600"/>
            <a:ext cx="5375275" cy="172619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noProof="0" dirty="0"/>
              <a:t>Klik for at tilføje tekst</a:t>
            </a:r>
          </a:p>
          <a:p>
            <a:pPr lvl="1"/>
            <a:r>
              <a:rPr lang="da-DK" noProof="0" dirty="0"/>
              <a:t>Secon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2"/>
            <a:r>
              <a:rPr lang="da-DK" noProof="0" dirty="0"/>
              <a:t>Thir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3"/>
            <a:r>
              <a:rPr lang="da-DK" noProof="0" dirty="0" err="1"/>
              <a:t>Fourth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4"/>
            <a:r>
              <a:rPr lang="da-DK" noProof="0" dirty="0"/>
              <a:t>Fifth </a:t>
            </a:r>
            <a:r>
              <a:rPr lang="da-DK" noProof="0" dirty="0" err="1"/>
              <a:t>level</a:t>
            </a:r>
            <a:endParaRPr lang="da-DK" noProof="0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6644B7F-9548-4E80-88EF-1FF0DA0DF78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39750" y="4062920"/>
            <a:ext cx="5375275" cy="280800"/>
          </a:xfrm>
        </p:spPr>
        <p:txBody>
          <a:bodyPr/>
          <a:lstStyle>
            <a:lvl1pPr marL="0" indent="0">
              <a:buNone/>
              <a:defRPr sz="1500" b="1"/>
            </a:lvl1pPr>
            <a:lvl2pPr marL="0" indent="0">
              <a:buNone/>
              <a:defRPr sz="1500" b="1"/>
            </a:lvl2pPr>
            <a:lvl3pPr marL="0" indent="0">
              <a:buNone/>
              <a:defRPr sz="1500" b="1"/>
            </a:lvl3pPr>
            <a:lvl4pPr>
              <a:buNone/>
              <a:defRPr sz="1500" b="1"/>
            </a:lvl4pPr>
            <a:lvl5pPr>
              <a:buNone/>
              <a:defRPr sz="1500" b="1"/>
            </a:lvl5pPr>
          </a:lstStyle>
          <a:p>
            <a:pPr lvl="0"/>
            <a:r>
              <a:rPr lang="da-DK" dirty="0"/>
              <a:t>Klik for at tilføje overskrift i en linje </a:t>
            </a:r>
          </a:p>
        </p:txBody>
      </p:sp>
      <p:sp>
        <p:nvSpPr>
          <p:cNvPr id="13" name="Content Placeholder 13">
            <a:extLst>
              <a:ext uri="{FF2B5EF4-FFF2-40B4-BE49-F238E27FC236}">
                <a16:creationId xmlns:a16="http://schemas.microsoft.com/office/drawing/2014/main" id="{7583199B-5647-449E-90B4-9FCBFAD89242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39750" y="4374000"/>
            <a:ext cx="5375275" cy="172676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tilføj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530FE3F-5282-4744-877A-A634FBB00B5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78400" y="1818000"/>
            <a:ext cx="5375274" cy="281528"/>
          </a:xfrm>
        </p:spPr>
        <p:txBody>
          <a:bodyPr/>
          <a:lstStyle>
            <a:lvl1pPr marL="0" indent="0">
              <a:buNone/>
              <a:defRPr sz="1500" b="1"/>
            </a:lvl1pPr>
            <a:lvl2pPr marL="0" indent="0">
              <a:buNone/>
              <a:defRPr sz="1500" b="1"/>
            </a:lvl2pPr>
            <a:lvl3pPr marL="0" indent="0">
              <a:buNone/>
              <a:defRPr sz="1500" b="1"/>
            </a:lvl3pPr>
            <a:lvl4pPr>
              <a:buNone/>
              <a:defRPr sz="1500" b="1"/>
            </a:lvl4pPr>
            <a:lvl5pPr>
              <a:buNone/>
              <a:defRPr sz="1500" b="1"/>
            </a:lvl5pPr>
          </a:lstStyle>
          <a:p>
            <a:pPr lvl="0"/>
            <a:r>
              <a:rPr lang="da-DK" dirty="0"/>
              <a:t>Klik for at tilføje overskrift i en linje </a:t>
            </a:r>
          </a:p>
        </p:txBody>
      </p:sp>
      <p:sp>
        <p:nvSpPr>
          <p:cNvPr id="17" name="Picture Placeholder 4">
            <a:extLst>
              <a:ext uri="{FF2B5EF4-FFF2-40B4-BE49-F238E27FC236}">
                <a16:creationId xmlns:a16="http://schemas.microsoft.com/office/drawing/2014/main" id="{08F3914E-65A0-4EF4-BC3E-05E31CBEA432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278400" y="2127600"/>
            <a:ext cx="5372263" cy="1726763"/>
          </a:xfrm>
          <a:solidFill>
            <a:schemeClr val="bg2"/>
          </a:solidFill>
        </p:spPr>
        <p:txBody>
          <a:bodyPr tIns="648000" anchor="ctr" anchorCtr="0"/>
          <a:lstStyle>
            <a:lvl1pPr marL="0" indent="0" algn="ctr">
              <a:buNone/>
              <a:defRPr/>
            </a:lvl1pPr>
          </a:lstStyle>
          <a:p>
            <a:r>
              <a:rPr lang="da-DK" noProof="0" dirty="0"/>
              <a:t>Klik på ikonet for at tilføje billede eller grafik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57BA458F-92B4-42DB-9492-D5F93E57E7C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78400" y="4062920"/>
            <a:ext cx="5354638" cy="280800"/>
          </a:xfrm>
        </p:spPr>
        <p:txBody>
          <a:bodyPr/>
          <a:lstStyle>
            <a:lvl1pPr marL="0" indent="0">
              <a:buNone/>
              <a:defRPr sz="1500" b="1"/>
            </a:lvl1pPr>
            <a:lvl2pPr marL="0" indent="0">
              <a:buNone/>
              <a:defRPr sz="1500" b="1"/>
            </a:lvl2pPr>
            <a:lvl3pPr marL="0" indent="0">
              <a:buNone/>
              <a:defRPr sz="1500" b="1"/>
            </a:lvl3pPr>
            <a:lvl4pPr>
              <a:buNone/>
              <a:defRPr sz="1500" b="1"/>
            </a:lvl4pPr>
            <a:lvl5pPr>
              <a:buNone/>
              <a:defRPr sz="1500" b="1"/>
            </a:lvl5pPr>
          </a:lstStyle>
          <a:p>
            <a:pPr lvl="0"/>
            <a:r>
              <a:rPr lang="da-DK" dirty="0"/>
              <a:t>Klik for at tilføje overskrift i en linje </a:t>
            </a:r>
          </a:p>
        </p:txBody>
      </p:sp>
      <p:sp>
        <p:nvSpPr>
          <p:cNvPr id="18" name="Picture Placeholder 4">
            <a:extLst>
              <a:ext uri="{FF2B5EF4-FFF2-40B4-BE49-F238E27FC236}">
                <a16:creationId xmlns:a16="http://schemas.microsoft.com/office/drawing/2014/main" id="{CAA627EE-4EB1-4BF9-AFE0-370BB193F2DF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6278400" y="4374000"/>
            <a:ext cx="5372263" cy="1726763"/>
          </a:xfrm>
          <a:solidFill>
            <a:schemeClr val="bg2"/>
          </a:solidFill>
        </p:spPr>
        <p:txBody>
          <a:bodyPr tIns="648000" anchor="ctr" anchorCtr="0"/>
          <a:lstStyle>
            <a:lvl1pPr marL="0" indent="0" algn="ctr">
              <a:buNone/>
              <a:defRPr/>
            </a:lvl1pPr>
          </a:lstStyle>
          <a:p>
            <a:r>
              <a:rPr lang="da-DK" noProof="0" dirty="0"/>
              <a:t>Klik på ikonet for at tilføje billede eller grafik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F2E72B64-D55D-4FBA-AB42-4C2CA5D3CF6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BD5D34F6-165C-46CE-A71E-C7578F21892A}" type="datetime2">
              <a:rPr lang="da-DK" smtClean="0"/>
              <a:t>28. marts 2023</a:t>
            </a:fld>
            <a:endParaRPr lang="da-DK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3ACC3765-6ADF-4B65-9AFB-C50473B973C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659E3BFE-B339-4298-976D-1CB2ABBC25E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a-DK" dirty="0"/>
              <a:t>Side </a:t>
            </a:r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72749920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delt (tekst/grafer etc.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591138"/>
            <a:ext cx="7288213" cy="898297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>Klik for at tilføje titel</a:t>
            </a:r>
            <a:endParaRPr lang="da-DK" noProof="0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6810C78A-23C9-4426-9672-56EAFB0CECFC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539750" y="1053909"/>
            <a:ext cx="7288214" cy="435525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-DK" dirty="0"/>
              <a:t>Klik for at tilføje underoverskrift i en linj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CD6E677-EECA-480F-ADE2-F0FCF30478D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39750" y="1818000"/>
            <a:ext cx="5375275" cy="281528"/>
          </a:xfrm>
        </p:spPr>
        <p:txBody>
          <a:bodyPr/>
          <a:lstStyle>
            <a:lvl1pPr marL="0" indent="0">
              <a:buNone/>
              <a:defRPr sz="1500" b="1"/>
            </a:lvl1pPr>
            <a:lvl2pPr marL="0" indent="0">
              <a:buNone/>
              <a:defRPr sz="1500" b="1"/>
            </a:lvl2pPr>
            <a:lvl3pPr marL="0" indent="0">
              <a:buNone/>
              <a:defRPr sz="1500" b="1"/>
            </a:lvl3pPr>
            <a:lvl4pPr>
              <a:buNone/>
              <a:defRPr sz="1500" b="1"/>
            </a:lvl4pPr>
            <a:lvl5pPr>
              <a:buNone/>
              <a:defRPr sz="1500" b="1"/>
            </a:lvl5pPr>
          </a:lstStyle>
          <a:p>
            <a:pPr lvl="0"/>
            <a:r>
              <a:rPr lang="da-DK" dirty="0"/>
              <a:t>Klik for at tilføje overskrift i en linje 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quarter" idx="13" hasCustomPrompt="1"/>
          </p:nvPr>
        </p:nvSpPr>
        <p:spPr>
          <a:xfrm>
            <a:off x="539749" y="2127600"/>
            <a:ext cx="5375275" cy="172619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tilføje tekst eller klik på tabel-/graf-/SmartArt- eller video-ikon for at indsætte objekt. For at indsætte billede, skift til layout: Firdelt (tekst/billede)</a:t>
            </a:r>
            <a:endParaRPr lang="da-DK" noProof="0" dirty="0"/>
          </a:p>
          <a:p>
            <a:pPr lvl="1"/>
            <a:r>
              <a:rPr lang="da-DK" noProof="0" dirty="0"/>
              <a:t>Secon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2"/>
            <a:r>
              <a:rPr lang="da-DK" noProof="0" dirty="0"/>
              <a:t>Thir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3"/>
            <a:r>
              <a:rPr lang="da-DK" noProof="0" dirty="0" err="1"/>
              <a:t>Fourth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4"/>
            <a:r>
              <a:rPr lang="da-DK" noProof="0" dirty="0"/>
              <a:t>Fifth </a:t>
            </a:r>
            <a:r>
              <a:rPr lang="da-DK" noProof="0" dirty="0" err="1"/>
              <a:t>level</a:t>
            </a:r>
            <a:endParaRPr lang="da-DK" noProof="0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6644B7F-9548-4E80-88EF-1FF0DA0DF78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39750" y="4062920"/>
            <a:ext cx="5375275" cy="280800"/>
          </a:xfrm>
        </p:spPr>
        <p:txBody>
          <a:bodyPr/>
          <a:lstStyle>
            <a:lvl1pPr marL="0" indent="0">
              <a:buNone/>
              <a:defRPr sz="1500" b="1"/>
            </a:lvl1pPr>
            <a:lvl2pPr marL="0" indent="0">
              <a:buNone/>
              <a:defRPr sz="1500" b="1"/>
            </a:lvl2pPr>
            <a:lvl3pPr marL="0" indent="0">
              <a:buNone/>
              <a:defRPr sz="1500" b="1"/>
            </a:lvl3pPr>
            <a:lvl4pPr>
              <a:buNone/>
              <a:defRPr sz="1500" b="1"/>
            </a:lvl4pPr>
            <a:lvl5pPr>
              <a:buNone/>
              <a:defRPr sz="1500" b="1"/>
            </a:lvl5pPr>
          </a:lstStyle>
          <a:p>
            <a:pPr lvl="0"/>
            <a:r>
              <a:rPr lang="da-DK" dirty="0"/>
              <a:t>Klik for at tilføje overskrift i en linje </a:t>
            </a:r>
          </a:p>
        </p:txBody>
      </p:sp>
      <p:sp>
        <p:nvSpPr>
          <p:cNvPr id="13" name="Content Placeholder 13">
            <a:extLst>
              <a:ext uri="{FF2B5EF4-FFF2-40B4-BE49-F238E27FC236}">
                <a16:creationId xmlns:a16="http://schemas.microsoft.com/office/drawing/2014/main" id="{7583199B-5647-449E-90B4-9FCBFAD89242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39750" y="4374000"/>
            <a:ext cx="5375275" cy="172676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tilføje tekst eller klik på tabel-/graf-/SmartArt- eller video-ikon for at indsætte objekt. For at indsætte billede, skift til layout: Firdelt (tekst/billede)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530FE3F-5282-4744-877A-A634FBB00B5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78400" y="1818000"/>
            <a:ext cx="5375274" cy="281528"/>
          </a:xfrm>
        </p:spPr>
        <p:txBody>
          <a:bodyPr/>
          <a:lstStyle>
            <a:lvl1pPr marL="0" indent="0">
              <a:buNone/>
              <a:defRPr sz="1500" b="1"/>
            </a:lvl1pPr>
            <a:lvl2pPr marL="0" indent="0">
              <a:buNone/>
              <a:defRPr sz="1500" b="1"/>
            </a:lvl2pPr>
            <a:lvl3pPr marL="0" indent="0">
              <a:buNone/>
              <a:defRPr sz="1500" b="1"/>
            </a:lvl3pPr>
            <a:lvl4pPr>
              <a:buNone/>
              <a:defRPr sz="1500" b="1"/>
            </a:lvl4pPr>
            <a:lvl5pPr>
              <a:buNone/>
              <a:defRPr sz="1500" b="1"/>
            </a:lvl5pPr>
          </a:lstStyle>
          <a:p>
            <a:pPr lvl="0"/>
            <a:r>
              <a:rPr lang="da-DK" dirty="0"/>
              <a:t>Klik for at tilføje overskrift i en linje </a:t>
            </a:r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76EEC813-1AA2-40B5-98B4-D25FA0A0A659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278400" y="2127600"/>
            <a:ext cx="5375275" cy="172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tilføje tekst eller klik på tabel-/graf-/SmartArt- eller video-ikon for at indsætte objekt. For at indsætte billede, skift til layout: Firdelt (tekst/billede)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57BA458F-92B4-42DB-9492-D5F93E57E7C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78400" y="4062920"/>
            <a:ext cx="5354638" cy="280800"/>
          </a:xfrm>
        </p:spPr>
        <p:txBody>
          <a:bodyPr/>
          <a:lstStyle>
            <a:lvl1pPr marL="0" indent="0">
              <a:buNone/>
              <a:defRPr sz="1500" b="1"/>
            </a:lvl1pPr>
            <a:lvl2pPr marL="0" indent="0">
              <a:buNone/>
              <a:defRPr sz="1500" b="1"/>
            </a:lvl2pPr>
            <a:lvl3pPr marL="0" indent="0">
              <a:buNone/>
              <a:defRPr sz="1500" b="1"/>
            </a:lvl3pPr>
            <a:lvl4pPr>
              <a:buNone/>
              <a:defRPr sz="1500" b="1"/>
            </a:lvl4pPr>
            <a:lvl5pPr>
              <a:buNone/>
              <a:defRPr sz="1500" b="1"/>
            </a:lvl5pPr>
          </a:lstStyle>
          <a:p>
            <a:pPr lvl="0"/>
            <a:r>
              <a:rPr lang="da-DK" dirty="0"/>
              <a:t>Klik for at tilføje overskrift i en linje </a:t>
            </a:r>
          </a:p>
        </p:txBody>
      </p:sp>
      <p:sp>
        <p:nvSpPr>
          <p:cNvPr id="15" name="Content Placeholder 17">
            <a:extLst>
              <a:ext uri="{FF2B5EF4-FFF2-40B4-BE49-F238E27FC236}">
                <a16:creationId xmlns:a16="http://schemas.microsoft.com/office/drawing/2014/main" id="{05244590-E9D2-4C41-904B-948D1D43068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278400" y="4374000"/>
            <a:ext cx="5375276" cy="172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tilføje tekst eller klik på tabel-/graf-/SmartArt- eller video-ikon for at indsætte objekt. For at indsætte billede, skift til layout: Firdelt (tekst/billede)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F2E72B64-D55D-4FBA-AB42-4C2CA5D3CF6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DFC92CB6-6260-4387-8DBA-490E9CA2FE63}" type="datetime2">
              <a:rPr lang="da-DK" smtClean="0"/>
              <a:t>28. marts 2023</a:t>
            </a:fld>
            <a:endParaRPr lang="da-DK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3ACC3765-6ADF-4B65-9AFB-C50473B973C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659E3BFE-B339-4298-976D-1CB2ABBC25E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a-DK" dirty="0"/>
              <a:t>Side </a:t>
            </a:r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6318417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 (sidefo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BAAFAF0F-3659-4911-B7AE-77656B8BE3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B3C68-E2A6-4DFE-9FBD-646C92524D26}" type="datetime2">
              <a:rPr lang="da-DK" smtClean="0"/>
              <a:t>28. marts 2023</a:t>
            </a:fld>
            <a:endParaRPr lang="da-DK" dirty="0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DC16EBAB-7232-47BA-835B-C36905EFBD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19256C37-8FF7-4672-A8A4-7670C8BA3B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a-DK" dirty="0"/>
              <a:t>Side </a:t>
            </a:r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33727647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uger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C:\Users\MTC\AppData\Local\Temp\SNAGHTML8bdd87d.PNG">
            <a:extLst>
              <a:ext uri="{FF2B5EF4-FFF2-40B4-BE49-F238E27FC236}">
                <a16:creationId xmlns:a16="http://schemas.microsoft.com/office/drawing/2014/main" id="{629DC095-C097-45E6-BE9C-B70B4282566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05929" y="1871662"/>
            <a:ext cx="2836099" cy="14151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ast overskrift"/>
          <p:cNvSpPr txBox="1"/>
          <p:nvPr userDrawn="1"/>
        </p:nvSpPr>
        <p:spPr>
          <a:xfrm>
            <a:off x="539748" y="539750"/>
            <a:ext cx="11109325" cy="65017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da-DK" sz="32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erguide</a:t>
            </a:r>
          </a:p>
        </p:txBody>
      </p:sp>
      <p:sp>
        <p:nvSpPr>
          <p:cNvPr id="29" name="Text Box 2"/>
          <p:cNvSpPr txBox="1">
            <a:spLocks noChangeArrowheads="1"/>
          </p:cNvSpPr>
          <p:nvPr userDrawn="1"/>
        </p:nvSpPr>
        <p:spPr bwMode="auto">
          <a:xfrm>
            <a:off x="539752" y="1815926"/>
            <a:ext cx="1938706" cy="30315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800"/>
              </a:spcAft>
              <a:defRPr/>
            </a:pPr>
            <a:r>
              <a:rPr lang="da-DK" sz="1100" b="1" noProof="1">
                <a:latin typeface="Arial" panose="020B0604020202020204" pitchFamily="34" charset="0"/>
                <a:cs typeface="Arial" panose="020B0604020202020204" pitchFamily="34" charset="0"/>
              </a:rPr>
              <a:t>Ny side</a:t>
            </a:r>
          </a:p>
          <a:p>
            <a:pPr>
              <a:spcAft>
                <a:spcPts val="800"/>
              </a:spcAft>
            </a:pPr>
            <a:r>
              <a:rPr lang="da-DK" sz="1000" b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Ny slide: </a:t>
            </a:r>
            <a:r>
              <a:rPr lang="da-DK" sz="10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klik på </a:t>
            </a:r>
            <a:r>
              <a:rPr lang="da-DK" sz="1000" b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Ny slide</a:t>
            </a:r>
            <a:r>
              <a:rPr lang="da-DK" sz="10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for at få samme layout som den foregående.</a:t>
            </a:r>
          </a:p>
          <a:p>
            <a:pPr>
              <a:spcAft>
                <a:spcPts val="800"/>
              </a:spcAft>
            </a:pPr>
            <a:r>
              <a:rPr lang="da-DK" sz="1000" b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Layout: </a:t>
            </a:r>
            <a:r>
              <a:rPr lang="da-DK" sz="10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klik på </a:t>
            </a:r>
            <a:r>
              <a:rPr lang="da-DK" sz="1000" b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Layout</a:t>
            </a:r>
            <a:r>
              <a:rPr lang="da-DK" sz="10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for at vælge et andet layout.</a:t>
            </a:r>
            <a:endParaRPr lang="da-DK" sz="900" dirty="0"/>
          </a:p>
          <a:p>
            <a:pPr eaLnBrk="1" hangingPunct="1">
              <a:spcAft>
                <a:spcPts val="600"/>
              </a:spcAft>
              <a:defRPr/>
            </a:pPr>
            <a:endParaRPr lang="da-DK" sz="1000" b="1" noProof="1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800"/>
              </a:spcAft>
              <a:defRPr/>
            </a:pPr>
            <a:r>
              <a:rPr lang="da-DK" sz="1100" b="1" baseline="0" noProof="1">
                <a:latin typeface="Arial" panose="020B0604020202020204" pitchFamily="34" charset="0"/>
                <a:cs typeface="Arial" panose="020B0604020202020204" pitchFamily="34" charset="0"/>
              </a:rPr>
              <a:t>Tekst</a:t>
            </a:r>
            <a:endParaRPr lang="da-DK" sz="1100" b="1" noProof="1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Aft>
                <a:spcPts val="800"/>
              </a:spcAft>
            </a:pPr>
            <a:r>
              <a:rPr lang="da-DK" sz="10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Brug </a:t>
            </a:r>
            <a:r>
              <a:rPr lang="da-DK" sz="1000" b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TAB</a:t>
            </a:r>
            <a:r>
              <a:rPr lang="da-DK" sz="10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for at gå frem i </a:t>
            </a:r>
            <a:r>
              <a:rPr lang="da-DK" sz="1000" kern="1200" dirty="0" err="1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tekstniveauer</a:t>
            </a:r>
            <a:r>
              <a:rPr lang="da-DK" sz="10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.</a:t>
            </a:r>
          </a:p>
          <a:p>
            <a:pPr>
              <a:spcAft>
                <a:spcPts val="800"/>
              </a:spcAft>
            </a:pPr>
            <a:r>
              <a:rPr lang="da-DK" sz="10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Brug </a:t>
            </a:r>
            <a:r>
              <a:rPr lang="da-DK" sz="1000" b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SHIFT+TAB</a:t>
            </a:r>
            <a:r>
              <a:rPr lang="da-DK" sz="10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for at gå tilbage i </a:t>
            </a:r>
            <a:r>
              <a:rPr lang="da-DK" sz="1000" kern="1200" dirty="0" err="1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tekstniveauer</a:t>
            </a:r>
            <a:r>
              <a:rPr lang="da-DK" sz="10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.</a:t>
            </a:r>
          </a:p>
          <a:p>
            <a:pPr>
              <a:spcAft>
                <a:spcPts val="800"/>
              </a:spcAft>
            </a:pPr>
            <a:r>
              <a:rPr lang="da-DK" sz="1000" b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Forøg </a:t>
            </a:r>
            <a:r>
              <a:rPr lang="da-DK" sz="10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og </a:t>
            </a:r>
            <a:r>
              <a:rPr lang="da-DK" sz="1000" b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Formindsk </a:t>
            </a:r>
            <a:r>
              <a:rPr lang="da-DK" sz="10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listeniveau kan bruges som alternativ.</a:t>
            </a:r>
          </a:p>
        </p:txBody>
      </p:sp>
      <p:sp>
        <p:nvSpPr>
          <p:cNvPr id="21" name="Text Box 3"/>
          <p:cNvSpPr txBox="1">
            <a:spLocks noChangeArrowheads="1"/>
          </p:cNvSpPr>
          <p:nvPr userDrawn="1"/>
        </p:nvSpPr>
        <p:spPr bwMode="auto">
          <a:xfrm>
            <a:off x="3806721" y="1815926"/>
            <a:ext cx="2332044" cy="46422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800"/>
              </a:spcAft>
              <a:defRPr/>
            </a:pPr>
            <a:r>
              <a:rPr lang="da-DK" sz="11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lleder og grafik</a:t>
            </a:r>
          </a:p>
          <a:p>
            <a:pPr>
              <a:spcAft>
                <a:spcPts val="800"/>
              </a:spcAft>
            </a:pPr>
            <a:r>
              <a:rPr lang="da-DK" sz="10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Du kan indsætte billeder og grafikker for at gøre din præsentation inspirerende.  </a:t>
            </a:r>
          </a:p>
          <a:p>
            <a:pPr>
              <a:spcAft>
                <a:spcPts val="1600"/>
              </a:spcAft>
            </a:pPr>
            <a:r>
              <a:rPr lang="da-DK" sz="10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Områder til billeder/grafikker er markeret med en sandfarvet baggrund (billedpladsholder).</a:t>
            </a:r>
          </a:p>
          <a:p>
            <a:pPr>
              <a:spcAft>
                <a:spcPts val="800"/>
              </a:spcAft>
            </a:pPr>
            <a:r>
              <a:rPr lang="da-DK" sz="1000" b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Indsæt billede:</a:t>
            </a:r>
            <a:r>
              <a:rPr lang="da-DK" sz="10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Klik på </a:t>
            </a:r>
            <a:r>
              <a:rPr lang="da-DK" sz="1000" b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Billedikonet</a:t>
            </a:r>
            <a:r>
              <a:rPr lang="da-DK" sz="10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og indsæt et billede eller en grafik. </a:t>
            </a:r>
          </a:p>
          <a:p>
            <a:pPr>
              <a:spcAft>
                <a:spcPts val="800"/>
              </a:spcAft>
            </a:pPr>
            <a:r>
              <a:rPr lang="da-DK" sz="1000" b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Beskær billede: </a:t>
            </a:r>
            <a:r>
              <a:rPr lang="da-DK" sz="10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Marker billedet, højreklik og vælg </a:t>
            </a:r>
            <a:r>
              <a:rPr lang="da-DK" sz="1000" b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Beskær</a:t>
            </a:r>
            <a:r>
              <a:rPr lang="da-DK" sz="10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. </a:t>
            </a:r>
          </a:p>
          <a:p>
            <a:pPr>
              <a:spcAft>
                <a:spcPts val="800"/>
              </a:spcAft>
            </a:pPr>
            <a:r>
              <a:rPr lang="da-DK" sz="1000" b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Skaler billede</a:t>
            </a:r>
            <a:r>
              <a:rPr lang="da-DK" sz="10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: Marker billedet, højreklik og vælg </a:t>
            </a:r>
            <a:r>
              <a:rPr lang="da-DK" sz="1000" b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Beskær</a:t>
            </a:r>
            <a:r>
              <a:rPr lang="da-DK" sz="10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, hold </a:t>
            </a:r>
            <a:r>
              <a:rPr lang="da-DK" sz="1000" b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SHIFT</a:t>
            </a:r>
            <a:r>
              <a:rPr lang="da-DK" sz="10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nede mens du trækker i billedets hjørner.</a:t>
            </a:r>
          </a:p>
          <a:p>
            <a:pPr>
              <a:spcAft>
                <a:spcPts val="800"/>
              </a:spcAft>
            </a:pPr>
            <a:r>
              <a:rPr lang="da-DK" sz="1000" b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Nulstil</a:t>
            </a:r>
            <a:r>
              <a:rPr lang="da-DK" sz="10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: Klik på </a:t>
            </a:r>
            <a:r>
              <a:rPr lang="da-DK" sz="1000" b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Nulstil </a:t>
            </a:r>
            <a:r>
              <a:rPr lang="da-DK" sz="10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for at nulstille placering, størrelse og formatering af pladsholdere til layoutets oprindelige design.</a:t>
            </a:r>
          </a:p>
          <a:p>
            <a:pPr>
              <a:spcAft>
                <a:spcPts val="800"/>
              </a:spcAft>
            </a:pPr>
            <a:r>
              <a:rPr lang="da-DK" sz="1000" b="1" i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Tip: </a:t>
            </a:r>
            <a:r>
              <a:rPr lang="da-DK" sz="1000" i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Hvis du sletter billedet og indsætter et nyt, kan billedet lægge sig foran tekst og grafik. Højreklik på billedet og vælg </a:t>
            </a:r>
            <a:r>
              <a:rPr lang="da-DK" sz="1000" b="1" i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Placer bagerst.</a:t>
            </a:r>
            <a:endParaRPr lang="da-DK" sz="1000" kern="1200" dirty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da-DK" alt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Text Box 4"/>
          <p:cNvSpPr txBox="1">
            <a:spLocks noChangeArrowheads="1"/>
          </p:cNvSpPr>
          <p:nvPr userDrawn="1"/>
        </p:nvSpPr>
        <p:spPr bwMode="auto">
          <a:xfrm>
            <a:off x="9739312" y="1815926"/>
            <a:ext cx="1911351" cy="2800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Aft>
                <a:spcPts val="800"/>
              </a:spcAft>
            </a:pPr>
            <a:r>
              <a:rPr lang="da-DK" sz="1100" b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Sidefod </a:t>
            </a:r>
            <a:endParaRPr lang="da-DK" sz="1100" kern="1200" dirty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  <a:p>
            <a:pPr>
              <a:spcAft>
                <a:spcPts val="800"/>
              </a:spcAft>
            </a:pPr>
            <a:r>
              <a:rPr lang="da-DK" sz="10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Stå i </a:t>
            </a:r>
            <a:r>
              <a:rPr lang="da-DK" sz="1000" b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Sidefoden</a:t>
            </a:r>
            <a:r>
              <a:rPr lang="da-DK" sz="10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på side 2. </a:t>
            </a:r>
            <a:br>
              <a:rPr lang="da-DK" sz="10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</a:br>
            <a:r>
              <a:rPr lang="da-DK" sz="10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I fanen </a:t>
            </a:r>
            <a:r>
              <a:rPr lang="da-DK" sz="1000" b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INDSÆT </a:t>
            </a:r>
            <a:r>
              <a:rPr lang="da-DK" sz="10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vælger du </a:t>
            </a:r>
            <a:r>
              <a:rPr lang="da-DK" sz="1000" b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Sidehoved og sidefod </a:t>
            </a:r>
            <a:r>
              <a:rPr lang="da-DK" sz="10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og indtaster din tekst.</a:t>
            </a:r>
            <a:r>
              <a:rPr lang="da-DK" sz="1000" b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</a:t>
            </a:r>
            <a:endParaRPr lang="da-DK" sz="1000" kern="1200" dirty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  <a:p>
            <a:pPr>
              <a:spcAft>
                <a:spcPts val="800"/>
              </a:spcAft>
            </a:pPr>
            <a:r>
              <a:rPr lang="da-DK" sz="10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Vælg </a:t>
            </a:r>
            <a:r>
              <a:rPr lang="da-DK" sz="1000" b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Anvend,</a:t>
            </a:r>
            <a:r>
              <a:rPr lang="da-DK" sz="10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hvis det kun skal være på et enkelt slide, eller </a:t>
            </a:r>
            <a:r>
              <a:rPr lang="da-DK" sz="1000" b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Anvend på alle.</a:t>
            </a:r>
            <a:endParaRPr lang="da-DK" sz="1000" kern="1200" dirty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  <a:p>
            <a:pPr>
              <a:spcAft>
                <a:spcPts val="800"/>
              </a:spcAft>
            </a:pPr>
            <a:r>
              <a:rPr lang="da-DK" sz="1000" b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 </a:t>
            </a:r>
            <a:endParaRPr lang="da-DK" sz="1000" kern="1200" dirty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  <a:p>
            <a:pPr>
              <a:spcAft>
                <a:spcPts val="800"/>
              </a:spcAft>
            </a:pPr>
            <a:r>
              <a:rPr lang="da-DK" sz="1100" b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Hjælpelinjer</a:t>
            </a:r>
            <a:endParaRPr lang="da-DK" sz="1100" kern="1200" dirty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  <a:p>
            <a:pPr>
              <a:spcAft>
                <a:spcPts val="800"/>
              </a:spcAft>
            </a:pPr>
            <a:r>
              <a:rPr lang="da-DK" sz="1000" b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Vis hjælpelinjer </a:t>
            </a:r>
            <a:r>
              <a:rPr lang="da-DK" sz="10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ved at klikke på fanen</a:t>
            </a:r>
            <a:r>
              <a:rPr lang="da-DK" sz="1000" b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Vis </a:t>
            </a:r>
            <a:r>
              <a:rPr lang="da-DK" sz="10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og sæt hak ved</a:t>
            </a:r>
            <a:r>
              <a:rPr lang="da-DK" sz="1000" b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Hjælpelinjer </a:t>
            </a:r>
            <a:r>
              <a:rPr lang="da-DK" sz="10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(Alt + F9)</a:t>
            </a:r>
          </a:p>
          <a:p>
            <a:pPr algn="l">
              <a:lnSpc>
                <a:spcPct val="111000"/>
              </a:lnSpc>
              <a:spcAft>
                <a:spcPts val="800"/>
              </a:spcAft>
            </a:pPr>
            <a:endParaRPr lang="da-DK" sz="900" dirty="0" err="1"/>
          </a:p>
        </p:txBody>
      </p:sp>
      <p:pic>
        <p:nvPicPr>
          <p:cNvPr id="28" name="1 Forøg formindsk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367657" y="4307262"/>
            <a:ext cx="549328" cy="285228"/>
          </a:xfrm>
          <a:prstGeom prst="rect">
            <a:avLst/>
          </a:prstGeom>
        </p:spPr>
      </p:pic>
      <p:pic>
        <p:nvPicPr>
          <p:cNvPr id="20" name="2 Ny slide"/>
          <p:cNvPicPr>
            <a:picLocks noChangeAspect="1"/>
          </p:cNvPicPr>
          <p:nvPr userDrawn="1"/>
        </p:nvPicPr>
        <p:blipFill rotWithShape="1">
          <a:blip r:embed="rId4"/>
          <a:srcRect l="2931" r="60888"/>
          <a:stretch/>
        </p:blipFill>
        <p:spPr>
          <a:xfrm>
            <a:off x="2381576" y="1929903"/>
            <a:ext cx="363713" cy="647461"/>
          </a:xfrm>
          <a:prstGeom prst="rect">
            <a:avLst/>
          </a:prstGeom>
        </p:spPr>
      </p:pic>
      <p:pic>
        <p:nvPicPr>
          <p:cNvPr id="16" name="3 Layout"/>
          <p:cNvPicPr>
            <a:picLocks noChangeAspect="1"/>
          </p:cNvPicPr>
          <p:nvPr userDrawn="1"/>
        </p:nvPicPr>
        <p:blipFill rotWithShape="1">
          <a:blip r:embed="rId4"/>
          <a:srcRect l="36944" r="2272" b="69429"/>
          <a:stretch/>
        </p:blipFill>
        <p:spPr>
          <a:xfrm>
            <a:off x="2397041" y="2618685"/>
            <a:ext cx="593368" cy="192211"/>
          </a:xfrm>
          <a:prstGeom prst="rect">
            <a:avLst/>
          </a:prstGeom>
        </p:spPr>
      </p:pic>
      <p:pic>
        <p:nvPicPr>
          <p:cNvPr id="24" name="4 Nulstil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045392" y="4670047"/>
            <a:ext cx="547241" cy="197798"/>
          </a:xfrm>
          <a:prstGeom prst="rect">
            <a:avLst/>
          </a:prstGeom>
        </p:spPr>
      </p:pic>
      <p:pic>
        <p:nvPicPr>
          <p:cNvPr id="5" name="5 Indsæt billede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084026" y="3317346"/>
            <a:ext cx="262151" cy="256054"/>
          </a:xfrm>
          <a:prstGeom prst="rect">
            <a:avLst/>
          </a:prstGeom>
        </p:spPr>
      </p:pic>
      <p:pic>
        <p:nvPicPr>
          <p:cNvPr id="23" name="6 Beskær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6052840" y="3649901"/>
            <a:ext cx="337400" cy="321707"/>
          </a:xfrm>
          <a:prstGeom prst="rect">
            <a:avLst/>
          </a:prstGeom>
        </p:spPr>
      </p:pic>
      <p:pic>
        <p:nvPicPr>
          <p:cNvPr id="2" name="7 Skalér billede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6045392" y="4029366"/>
            <a:ext cx="359695" cy="335309"/>
          </a:xfrm>
          <a:prstGeom prst="rect">
            <a:avLst/>
          </a:prstGeom>
        </p:spPr>
      </p:pic>
      <p:cxnSp>
        <p:nvCxnSpPr>
          <p:cNvPr id="6" name="Lige pilforbindelse 5">
            <a:extLst>
              <a:ext uri="{FF2B5EF4-FFF2-40B4-BE49-F238E27FC236}">
                <a16:creationId xmlns:a16="http://schemas.microsoft.com/office/drawing/2014/main" id="{B993A677-C71F-4FE6-8F5E-6498BF741617}"/>
              </a:ext>
            </a:extLst>
          </p:cNvPr>
          <p:cNvCxnSpPr>
            <a:cxnSpLocks/>
          </p:cNvCxnSpPr>
          <p:nvPr userDrawn="1"/>
        </p:nvCxnSpPr>
        <p:spPr>
          <a:xfrm>
            <a:off x="6915493" y="1902057"/>
            <a:ext cx="0" cy="227046"/>
          </a:xfrm>
          <a:prstGeom prst="straightConnector1">
            <a:avLst/>
          </a:prstGeom>
          <a:ln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Lige pilforbindelse 18">
            <a:extLst>
              <a:ext uri="{FF2B5EF4-FFF2-40B4-BE49-F238E27FC236}">
                <a16:creationId xmlns:a16="http://schemas.microsoft.com/office/drawing/2014/main" id="{95066BFE-10EF-4E59-AB3D-04DDE8A2F1B1}"/>
              </a:ext>
            </a:extLst>
          </p:cNvPr>
          <p:cNvCxnSpPr>
            <a:cxnSpLocks/>
          </p:cNvCxnSpPr>
          <p:nvPr userDrawn="1"/>
        </p:nvCxnSpPr>
        <p:spPr>
          <a:xfrm>
            <a:off x="7818626" y="1902057"/>
            <a:ext cx="0" cy="227046"/>
          </a:xfrm>
          <a:prstGeom prst="straightConnector1">
            <a:avLst/>
          </a:prstGeom>
          <a:ln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Lige pilforbindelse 21">
            <a:extLst>
              <a:ext uri="{FF2B5EF4-FFF2-40B4-BE49-F238E27FC236}">
                <a16:creationId xmlns:a16="http://schemas.microsoft.com/office/drawing/2014/main" id="{9785DA56-0E6A-444E-9932-ABE9D4F72C4D}"/>
              </a:ext>
            </a:extLst>
          </p:cNvPr>
          <p:cNvCxnSpPr>
            <a:cxnSpLocks/>
          </p:cNvCxnSpPr>
          <p:nvPr userDrawn="1"/>
        </p:nvCxnSpPr>
        <p:spPr>
          <a:xfrm>
            <a:off x="8739549" y="1902057"/>
            <a:ext cx="0" cy="227046"/>
          </a:xfrm>
          <a:prstGeom prst="straightConnector1">
            <a:avLst/>
          </a:prstGeom>
          <a:ln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Lige pilforbindelse 25">
            <a:extLst>
              <a:ext uri="{FF2B5EF4-FFF2-40B4-BE49-F238E27FC236}">
                <a16:creationId xmlns:a16="http://schemas.microsoft.com/office/drawing/2014/main" id="{7E65C202-D407-445A-8531-E05CC8E877AF}"/>
              </a:ext>
            </a:extLst>
          </p:cNvPr>
          <p:cNvCxnSpPr>
            <a:cxnSpLocks/>
          </p:cNvCxnSpPr>
          <p:nvPr userDrawn="1"/>
        </p:nvCxnSpPr>
        <p:spPr>
          <a:xfrm>
            <a:off x="6915493" y="2476211"/>
            <a:ext cx="0" cy="95780"/>
          </a:xfrm>
          <a:prstGeom prst="straightConnector1">
            <a:avLst/>
          </a:prstGeom>
          <a:ln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Lige pilforbindelse 26">
            <a:extLst>
              <a:ext uri="{FF2B5EF4-FFF2-40B4-BE49-F238E27FC236}">
                <a16:creationId xmlns:a16="http://schemas.microsoft.com/office/drawing/2014/main" id="{1D516ECC-7646-4319-BDED-DD556001281E}"/>
              </a:ext>
            </a:extLst>
          </p:cNvPr>
          <p:cNvCxnSpPr>
            <a:cxnSpLocks/>
          </p:cNvCxnSpPr>
          <p:nvPr userDrawn="1"/>
        </p:nvCxnSpPr>
        <p:spPr>
          <a:xfrm>
            <a:off x="7842817" y="2483468"/>
            <a:ext cx="0" cy="95780"/>
          </a:xfrm>
          <a:prstGeom prst="straightConnector1">
            <a:avLst/>
          </a:prstGeom>
          <a:ln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Lige pilforbindelse 29">
            <a:extLst>
              <a:ext uri="{FF2B5EF4-FFF2-40B4-BE49-F238E27FC236}">
                <a16:creationId xmlns:a16="http://schemas.microsoft.com/office/drawing/2014/main" id="{8F119DCA-BB53-41D5-9B48-4BB7A8093D2E}"/>
              </a:ext>
            </a:extLst>
          </p:cNvPr>
          <p:cNvCxnSpPr>
            <a:cxnSpLocks/>
          </p:cNvCxnSpPr>
          <p:nvPr userDrawn="1"/>
        </p:nvCxnSpPr>
        <p:spPr>
          <a:xfrm>
            <a:off x="8792918" y="2476211"/>
            <a:ext cx="0" cy="95780"/>
          </a:xfrm>
          <a:prstGeom prst="straightConnector1">
            <a:avLst/>
          </a:prstGeom>
          <a:ln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Lige pilforbindelse 30">
            <a:extLst>
              <a:ext uri="{FF2B5EF4-FFF2-40B4-BE49-F238E27FC236}">
                <a16:creationId xmlns:a16="http://schemas.microsoft.com/office/drawing/2014/main" id="{F1A751EC-45C7-459D-854F-6D57E3A3FD98}"/>
              </a:ext>
            </a:extLst>
          </p:cNvPr>
          <p:cNvCxnSpPr>
            <a:cxnSpLocks/>
          </p:cNvCxnSpPr>
          <p:nvPr userDrawn="1"/>
        </p:nvCxnSpPr>
        <p:spPr>
          <a:xfrm>
            <a:off x="8578847" y="2476211"/>
            <a:ext cx="0" cy="95780"/>
          </a:xfrm>
          <a:prstGeom prst="straightConnector1">
            <a:avLst/>
          </a:prstGeom>
          <a:ln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Lige pilforbindelse 45">
            <a:extLst>
              <a:ext uri="{FF2B5EF4-FFF2-40B4-BE49-F238E27FC236}">
                <a16:creationId xmlns:a16="http://schemas.microsoft.com/office/drawing/2014/main" id="{1010CD1B-1ECA-4F05-97FF-4ED54248EF36}"/>
              </a:ext>
            </a:extLst>
          </p:cNvPr>
          <p:cNvCxnSpPr>
            <a:cxnSpLocks/>
          </p:cNvCxnSpPr>
          <p:nvPr userDrawn="1"/>
        </p:nvCxnSpPr>
        <p:spPr>
          <a:xfrm>
            <a:off x="7709769" y="2476211"/>
            <a:ext cx="0" cy="95780"/>
          </a:xfrm>
          <a:prstGeom prst="straightConnector1">
            <a:avLst/>
          </a:prstGeom>
          <a:ln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Lige pilforbindelse 46">
            <a:extLst>
              <a:ext uri="{FF2B5EF4-FFF2-40B4-BE49-F238E27FC236}">
                <a16:creationId xmlns:a16="http://schemas.microsoft.com/office/drawing/2014/main" id="{F5928786-EECB-4008-894C-1D924464CE5A}"/>
              </a:ext>
            </a:extLst>
          </p:cNvPr>
          <p:cNvCxnSpPr>
            <a:cxnSpLocks/>
          </p:cNvCxnSpPr>
          <p:nvPr userDrawn="1"/>
        </p:nvCxnSpPr>
        <p:spPr>
          <a:xfrm flipH="1">
            <a:off x="6867794" y="3104181"/>
            <a:ext cx="142572" cy="0"/>
          </a:xfrm>
          <a:prstGeom prst="straightConnector1">
            <a:avLst/>
          </a:prstGeom>
          <a:ln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Lige pilforbindelse 49">
            <a:extLst>
              <a:ext uri="{FF2B5EF4-FFF2-40B4-BE49-F238E27FC236}">
                <a16:creationId xmlns:a16="http://schemas.microsoft.com/office/drawing/2014/main" id="{A7A0705E-83B5-4B69-8097-3382A86ECF8F}"/>
              </a:ext>
            </a:extLst>
          </p:cNvPr>
          <p:cNvCxnSpPr>
            <a:cxnSpLocks/>
          </p:cNvCxnSpPr>
          <p:nvPr userDrawn="1"/>
        </p:nvCxnSpPr>
        <p:spPr>
          <a:xfrm>
            <a:off x="7810460" y="2882611"/>
            <a:ext cx="0" cy="95780"/>
          </a:xfrm>
          <a:prstGeom prst="straightConnector1">
            <a:avLst/>
          </a:prstGeom>
          <a:ln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608824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+ billede til k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591138"/>
            <a:ext cx="5375275" cy="898297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>Klik for at tilføje titel</a:t>
            </a:r>
            <a:endParaRPr lang="da-DK" noProof="0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6810C78A-23C9-4426-9672-56EAFB0CECFC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539750" y="1053909"/>
            <a:ext cx="5375276" cy="435525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-DK" dirty="0"/>
              <a:t>Klik for at tilføje underoverskrift i en linj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quarter" idx="13" hasCustomPrompt="1"/>
          </p:nvPr>
        </p:nvSpPr>
        <p:spPr>
          <a:xfrm>
            <a:off x="539749" y="1818000"/>
            <a:ext cx="5375276" cy="428276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noProof="0" dirty="0"/>
              <a:t>Klik for at tilføje tekst</a:t>
            </a:r>
          </a:p>
          <a:p>
            <a:pPr lvl="1"/>
            <a:r>
              <a:rPr lang="da-DK" noProof="0" dirty="0"/>
              <a:t>Secon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2"/>
            <a:r>
              <a:rPr lang="da-DK" noProof="0" dirty="0"/>
              <a:t>Thir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3"/>
            <a:r>
              <a:rPr lang="da-DK" noProof="0" dirty="0" err="1"/>
              <a:t>Fourth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4"/>
            <a:r>
              <a:rPr lang="da-DK" noProof="0" dirty="0"/>
              <a:t>Fifth </a:t>
            </a:r>
            <a:r>
              <a:rPr lang="da-DK" noProof="0" dirty="0" err="1"/>
              <a:t>level</a:t>
            </a:r>
            <a:endParaRPr lang="da-DK" noProof="0" dirty="0"/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275389" y="0"/>
            <a:ext cx="5916612" cy="6858000"/>
          </a:xfrm>
          <a:solidFill>
            <a:schemeClr val="bg2"/>
          </a:solidFill>
        </p:spPr>
        <p:txBody>
          <a:bodyPr tIns="648000" anchor="ctr" anchorCtr="0"/>
          <a:lstStyle>
            <a:lvl1pPr marL="0" indent="0" algn="ctr">
              <a:buNone/>
              <a:defRPr sz="1500"/>
            </a:lvl1pPr>
          </a:lstStyle>
          <a:p>
            <a:r>
              <a:rPr lang="da-DK" noProof="0" dirty="0"/>
              <a:t>Klik på ikonet for at tilføje billede eller grafik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3ACC3765-6ADF-4B65-9AFB-C50473B973C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a-DK"/>
              <a:t>Arbejdsområder og -opgaver i LEU og ASK</a:t>
            </a:r>
            <a:endParaRPr lang="da-DK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659E3BFE-B339-4298-976D-1CB2ABBC25E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a-DK" dirty="0"/>
              <a:t>Side </a:t>
            </a:r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0369F211-FDD1-4E92-95B5-71B9EC9798B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C13B4246-41E1-4EEF-A8D2-6AEB00197B41}" type="datetime2">
              <a:rPr lang="da-DK" smtClean="0"/>
              <a:t>28. marts 2023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6362390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/ afslut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ggr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1F6E5B2F-CC3D-4D86-99BE-8EA3E717668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12192000" cy="6858000"/>
          </a:xfrm>
          <a:solidFill>
            <a:schemeClr val="tx1"/>
          </a:solidFill>
        </p:spPr>
        <p:txBody>
          <a:bodyPr lIns="5914800" tIns="648000" anchor="ctr" anchorCtr="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på ikonet for at tilføje baggrundsbillede eller grafik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9749" y="814665"/>
            <a:ext cx="7288214" cy="2039815"/>
          </a:xfrm>
        </p:spPr>
        <p:txBody>
          <a:bodyPr anchor="b">
            <a:normAutofit/>
          </a:bodyPr>
          <a:lstStyle>
            <a:lvl1pPr algn="l">
              <a:defRPr sz="52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for at tilføje titel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9750" y="3718762"/>
            <a:ext cx="5375276" cy="876098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buFont typeface="Arial" panose="020B0604020202020204" pitchFamily="34" charset="0"/>
              <a:buChar char="​"/>
              <a:tabLst/>
              <a:defRPr sz="2000">
                <a:solidFill>
                  <a:schemeClr val="bg1"/>
                </a:solidFill>
              </a:defRPr>
            </a:lvl9pPr>
          </a:lstStyle>
          <a:p>
            <a:r>
              <a:rPr lang="da-DK" dirty="0"/>
              <a:t>Klik for at tilføje underoverskrift i flere linjer</a:t>
            </a:r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F37FCB1C-BAA5-4AD0-A596-1E19BB8CFC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2B5B56-FA69-4FF7-8577-49518E9CAEE0}" type="datetime2">
              <a:rPr lang="da-DK" smtClean="0"/>
              <a:t>28. marts 2023</a:t>
            </a:fld>
            <a:endParaRPr lang="da-DK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64B2E2A9-DAAF-417C-8959-E5C42D1315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Arbejdsområder og -opgaver i LEU og ASK</a:t>
            </a:r>
            <a:endParaRPr lang="da-DK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0E371C9F-ADA4-4BAA-8125-BEED3FADD1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Side </a:t>
            </a:r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0EDF7F10-A4E6-4123-91AD-1E678DEC18C3}"/>
              </a:ext>
            </a:extLst>
          </p:cNvPr>
          <p:cNvSpPr>
            <a:spLocks noGrp="1"/>
          </p:cNvSpPr>
          <p:nvPr userDrawn="1">
            <p:ph type="body" sz="quarter" idx="16"/>
          </p:nvPr>
        </p:nvSpPr>
        <p:spPr>
          <a:xfrm>
            <a:off x="540001" y="4759200"/>
            <a:ext cx="2511174" cy="1249200"/>
          </a:xfrm>
          <a:custGeom>
            <a:avLst/>
            <a:gdLst>
              <a:gd name="connsiteX0" fmla="*/ 0 w 2511174"/>
              <a:gd name="connsiteY0" fmla="*/ 624012 h 1249200"/>
              <a:gd name="connsiteX1" fmla="*/ 3018 w 2511174"/>
              <a:gd name="connsiteY1" fmla="*/ 624012 h 1249200"/>
              <a:gd name="connsiteX2" fmla="*/ 208976 w 2511174"/>
              <a:gd name="connsiteY2" fmla="*/ 624012 h 1249200"/>
              <a:gd name="connsiteX3" fmla="*/ 627781 w 2511174"/>
              <a:gd name="connsiteY3" fmla="*/ 1041112 h 1249200"/>
              <a:gd name="connsiteX4" fmla="*/ 1046235 w 2511174"/>
              <a:gd name="connsiteY4" fmla="*/ 624012 h 1249200"/>
              <a:gd name="connsiteX5" fmla="*/ 1255462 w 2511174"/>
              <a:gd name="connsiteY5" fmla="*/ 624012 h 1249200"/>
              <a:gd name="connsiteX6" fmla="*/ 754298 w 2511174"/>
              <a:gd name="connsiteY6" fmla="*/ 1236789 h 1249200"/>
              <a:gd name="connsiteX7" fmla="*/ 630641 w 2511174"/>
              <a:gd name="connsiteY7" fmla="*/ 1249200 h 1249200"/>
              <a:gd name="connsiteX8" fmla="*/ 624919 w 2511174"/>
              <a:gd name="connsiteY8" fmla="*/ 1249200 h 1249200"/>
              <a:gd name="connsiteX9" fmla="*/ 501148 w 2511174"/>
              <a:gd name="connsiteY9" fmla="*/ 1236789 h 1249200"/>
              <a:gd name="connsiteX10" fmla="*/ 12500 w 2511174"/>
              <a:gd name="connsiteY10" fmla="*/ 750130 h 1249200"/>
              <a:gd name="connsiteX11" fmla="*/ 0 w 2511174"/>
              <a:gd name="connsiteY11" fmla="*/ 626495 h 1249200"/>
              <a:gd name="connsiteX12" fmla="*/ 2496585 w 2511174"/>
              <a:gd name="connsiteY12" fmla="*/ 0 h 1249200"/>
              <a:gd name="connsiteX13" fmla="*/ 2511174 w 2511174"/>
              <a:gd name="connsiteY13" fmla="*/ 0 h 1249200"/>
              <a:gd name="connsiteX14" fmla="*/ 2511174 w 2511174"/>
              <a:gd name="connsiteY14" fmla="*/ 67336 h 1249200"/>
              <a:gd name="connsiteX15" fmla="*/ 2511174 w 2511174"/>
              <a:gd name="connsiteY15" fmla="*/ 206970 h 1249200"/>
              <a:gd name="connsiteX16" fmla="*/ 2091957 w 2511174"/>
              <a:gd name="connsiteY16" fmla="*/ 623837 h 1249200"/>
              <a:gd name="connsiteX17" fmla="*/ 2511174 w 2511174"/>
              <a:gd name="connsiteY17" fmla="*/ 1041054 h 1249200"/>
              <a:gd name="connsiteX18" fmla="*/ 2511174 w 2511174"/>
              <a:gd name="connsiteY18" fmla="*/ 1246230 h 1249200"/>
              <a:gd name="connsiteX19" fmla="*/ 2511174 w 2511174"/>
              <a:gd name="connsiteY19" fmla="*/ 1249200 h 1249200"/>
              <a:gd name="connsiteX20" fmla="*/ 2508312 w 2511174"/>
              <a:gd name="connsiteY20" fmla="*/ 1249200 h 1249200"/>
              <a:gd name="connsiteX21" fmla="*/ 2384518 w 2511174"/>
              <a:gd name="connsiteY21" fmla="*/ 1236785 h 1249200"/>
              <a:gd name="connsiteX22" fmla="*/ 1882524 w 2511174"/>
              <a:gd name="connsiteY22" fmla="*/ 623837 h 1249200"/>
              <a:gd name="connsiteX23" fmla="*/ 2384518 w 2511174"/>
              <a:gd name="connsiteY23" fmla="*/ 11239 h 124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2511174" h="1249200">
                <a:moveTo>
                  <a:pt x="0" y="624012"/>
                </a:moveTo>
                <a:lnTo>
                  <a:pt x="3018" y="624012"/>
                </a:lnTo>
                <a:cubicBezTo>
                  <a:pt x="12826" y="624012"/>
                  <a:pt x="52056" y="624012"/>
                  <a:pt x="208976" y="624012"/>
                </a:cubicBezTo>
                <a:cubicBezTo>
                  <a:pt x="208976" y="854450"/>
                  <a:pt x="396401" y="1041112"/>
                  <a:pt x="627781" y="1041112"/>
                </a:cubicBezTo>
                <a:cubicBezTo>
                  <a:pt x="858810" y="1041112"/>
                  <a:pt x="1046235" y="854450"/>
                  <a:pt x="1046235" y="624012"/>
                </a:cubicBezTo>
                <a:cubicBezTo>
                  <a:pt x="1046235" y="624012"/>
                  <a:pt x="1046235" y="624012"/>
                  <a:pt x="1255462" y="624012"/>
                </a:cubicBezTo>
                <a:cubicBezTo>
                  <a:pt x="1255462" y="926462"/>
                  <a:pt x="1040351" y="1178504"/>
                  <a:pt x="754298" y="1236789"/>
                </a:cubicBezTo>
                <a:lnTo>
                  <a:pt x="630641" y="1249200"/>
                </a:lnTo>
                <a:lnTo>
                  <a:pt x="624919" y="1249200"/>
                </a:lnTo>
                <a:lnTo>
                  <a:pt x="501148" y="1236789"/>
                </a:lnTo>
                <a:cubicBezTo>
                  <a:pt x="255759" y="1186830"/>
                  <a:pt x="62662" y="994520"/>
                  <a:pt x="12500" y="750130"/>
                </a:cubicBezTo>
                <a:lnTo>
                  <a:pt x="0" y="626495"/>
                </a:lnTo>
                <a:close/>
                <a:moveTo>
                  <a:pt x="2496585" y="0"/>
                </a:moveTo>
                <a:lnTo>
                  <a:pt x="2511174" y="0"/>
                </a:lnTo>
                <a:lnTo>
                  <a:pt x="2511174" y="67336"/>
                </a:lnTo>
                <a:cubicBezTo>
                  <a:pt x="2511174" y="206970"/>
                  <a:pt x="2511174" y="206970"/>
                  <a:pt x="2511174" y="206970"/>
                </a:cubicBezTo>
                <a:cubicBezTo>
                  <a:pt x="2279918" y="206970"/>
                  <a:pt x="2091957" y="393684"/>
                  <a:pt x="2091957" y="623837"/>
                </a:cubicBezTo>
                <a:cubicBezTo>
                  <a:pt x="2091957" y="854340"/>
                  <a:pt x="2279918" y="1041054"/>
                  <a:pt x="2511174" y="1041054"/>
                </a:cubicBezTo>
                <a:cubicBezTo>
                  <a:pt x="2511174" y="1197379"/>
                  <a:pt x="2511174" y="1236460"/>
                  <a:pt x="2511174" y="1246230"/>
                </a:cubicBezTo>
                <a:lnTo>
                  <a:pt x="2511174" y="1249200"/>
                </a:lnTo>
                <a:lnTo>
                  <a:pt x="2508312" y="1249200"/>
                </a:lnTo>
                <a:lnTo>
                  <a:pt x="2384518" y="1236785"/>
                </a:lnTo>
                <a:cubicBezTo>
                  <a:pt x="2098116" y="1178484"/>
                  <a:pt x="1882524" y="926372"/>
                  <a:pt x="1882524" y="623837"/>
                </a:cubicBezTo>
                <a:cubicBezTo>
                  <a:pt x="1882524" y="321609"/>
                  <a:pt x="2098116" y="69535"/>
                  <a:pt x="2384518" y="11239"/>
                </a:cubicBezTo>
                <a:close/>
              </a:path>
            </a:pathLst>
          </a:custGeom>
          <a:solidFill>
            <a:srgbClr val="F39678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da-DK"/>
              <a:t>Rediger typografien i masterens</a:t>
            </a:r>
          </a:p>
        </p:txBody>
      </p:sp>
      <p:sp>
        <p:nvSpPr>
          <p:cNvPr id="5" name="Krone">
            <a:extLst>
              <a:ext uri="{FF2B5EF4-FFF2-40B4-BE49-F238E27FC236}">
                <a16:creationId xmlns:a16="http://schemas.microsoft.com/office/drawing/2014/main" id="{BF531D83-06D7-4122-82CA-B776865B947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40000" y="6310800"/>
            <a:ext cx="248400" cy="2448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  <a:lvl2pPr marL="216000" indent="0">
              <a:buNone/>
              <a:defRPr sz="100">
                <a:noFill/>
              </a:defRPr>
            </a:lvl2pPr>
            <a:lvl3pPr marL="432000" indent="0">
              <a:buNone/>
              <a:defRPr sz="100">
                <a:noFill/>
              </a:defRPr>
            </a:lvl3pPr>
            <a:lvl4pPr>
              <a:buNone/>
              <a:defRPr sz="100">
                <a:noFill/>
              </a:defRPr>
            </a:lvl4pPr>
            <a:lvl5pPr>
              <a:buNone/>
              <a:defRPr sz="100">
                <a:noFill/>
              </a:defRPr>
            </a:lvl5pPr>
          </a:lstStyle>
          <a:p>
            <a:pPr lvl="0"/>
            <a:r>
              <a:rPr lang="da-DK" dirty="0"/>
              <a:t>Edit Master </a:t>
            </a:r>
            <a:r>
              <a:rPr lang="da-DK" dirty="0" err="1"/>
              <a:t>text</a:t>
            </a:r>
            <a:r>
              <a:rPr lang="da-DK" dirty="0"/>
              <a:t> styles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r>
              <a:rPr lang="da-DK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97138226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spalter A (tekst/billed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591138"/>
            <a:ext cx="7288213" cy="898297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>Klik for at tilføje titel</a:t>
            </a:r>
            <a:endParaRPr lang="da-DK" noProof="0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6810C78A-23C9-4426-9672-56EAFB0CECFC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539750" y="1053909"/>
            <a:ext cx="7288214" cy="435525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-DK" dirty="0"/>
              <a:t>Klik for at tilføje underoverskrift i en linj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quarter" idx="13" hasCustomPrompt="1"/>
          </p:nvPr>
        </p:nvSpPr>
        <p:spPr>
          <a:xfrm>
            <a:off x="539749" y="1818000"/>
            <a:ext cx="5375276" cy="428276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noProof="0" dirty="0"/>
              <a:t>Klik for at tilføje tekst</a:t>
            </a:r>
          </a:p>
          <a:p>
            <a:pPr lvl="1"/>
            <a:r>
              <a:rPr lang="da-DK" noProof="0" dirty="0"/>
              <a:t>Secon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2"/>
            <a:r>
              <a:rPr lang="da-DK" noProof="0" dirty="0"/>
              <a:t>Thir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3"/>
            <a:r>
              <a:rPr lang="da-DK" noProof="0" dirty="0" err="1"/>
              <a:t>Fourth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4"/>
            <a:r>
              <a:rPr lang="da-DK" noProof="0" dirty="0"/>
              <a:t>Fifth </a:t>
            </a:r>
            <a:r>
              <a:rPr lang="da-DK" noProof="0" dirty="0" err="1"/>
              <a:t>level</a:t>
            </a:r>
            <a:endParaRPr lang="da-DK" noProof="0" dirty="0"/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275389" y="1871663"/>
            <a:ext cx="5373686" cy="4229100"/>
          </a:xfrm>
          <a:solidFill>
            <a:schemeClr val="bg2"/>
          </a:solidFill>
        </p:spPr>
        <p:txBody>
          <a:bodyPr tIns="648000" anchor="ctr" anchorCtr="0"/>
          <a:lstStyle>
            <a:lvl1pPr marL="0" indent="0" algn="ctr">
              <a:buNone/>
              <a:defRPr sz="1500"/>
            </a:lvl1pPr>
          </a:lstStyle>
          <a:p>
            <a:r>
              <a:rPr lang="da-DK" noProof="0" dirty="0"/>
              <a:t>Klik på ikonet for at tilføje billede eller grafik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F2E72B64-D55D-4FBA-AB42-4C2CA5D3CF6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F0C4E1E6-4E08-46FD-A12D-136919BE21FA}" type="datetime2">
              <a:rPr lang="da-DK" smtClean="0"/>
              <a:t>28. marts 2023</a:t>
            </a:fld>
            <a:endParaRPr lang="da-DK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3ACC3765-6ADF-4B65-9AFB-C50473B973C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a-DK"/>
              <a:t>Arbejdsområder og -opgaver i LEU og ASK</a:t>
            </a:r>
            <a:endParaRPr lang="da-DK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659E3BFE-B339-4298-976D-1CB2ABBC25E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a-DK" dirty="0"/>
              <a:t>Side </a:t>
            </a:r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8682268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spalter A (tekst/graf etc.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591138"/>
            <a:ext cx="7288213" cy="898297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>Klik for at tilføje titel</a:t>
            </a:r>
            <a:endParaRPr lang="da-DK" noProof="0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6810C78A-23C9-4426-9672-56EAFB0CECFC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539750" y="1053909"/>
            <a:ext cx="7288214" cy="435525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-DK" dirty="0"/>
              <a:t>Klik for at tilføje underoverskrift i en linj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quarter" idx="13" hasCustomPrompt="1"/>
          </p:nvPr>
        </p:nvSpPr>
        <p:spPr>
          <a:xfrm>
            <a:off x="539749" y="1818000"/>
            <a:ext cx="5375276" cy="428276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tilføje tekst eller klik på tabel-/graf-/SmartArt- eller video-ikon for at indsætte objekt. For at indsætte billede, skift til layout: To spalter A (tekst/billede)</a:t>
            </a:r>
            <a:endParaRPr lang="da-DK" noProof="0" dirty="0"/>
          </a:p>
          <a:p>
            <a:pPr lvl="1"/>
            <a:r>
              <a:rPr lang="da-DK" noProof="0" dirty="0"/>
              <a:t>Secon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2"/>
            <a:r>
              <a:rPr lang="da-DK" noProof="0" dirty="0"/>
              <a:t>Thir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3"/>
            <a:r>
              <a:rPr lang="da-DK" noProof="0" dirty="0" err="1"/>
              <a:t>Fourth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4"/>
            <a:r>
              <a:rPr lang="da-DK" noProof="0" dirty="0"/>
              <a:t>Fifth </a:t>
            </a:r>
            <a:r>
              <a:rPr lang="da-DK" noProof="0" dirty="0" err="1"/>
              <a:t>level</a:t>
            </a:r>
            <a:endParaRPr lang="da-DK" noProof="0" dirty="0"/>
          </a:p>
        </p:txBody>
      </p:sp>
      <p:sp>
        <p:nvSpPr>
          <p:cNvPr id="13" name="Content Placeholder 13">
            <a:extLst>
              <a:ext uri="{FF2B5EF4-FFF2-40B4-BE49-F238E27FC236}">
                <a16:creationId xmlns:a16="http://schemas.microsoft.com/office/drawing/2014/main" id="{7583199B-5647-449E-90B4-9FCBFAD89242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275388" y="1818000"/>
            <a:ext cx="5373685" cy="4282763"/>
          </a:xfrm>
        </p:spPr>
        <p:txBody>
          <a:bodyPr/>
          <a:lstStyle>
            <a:lvl1pPr marL="216000" marR="0" indent="-216000" algn="l" defTabSz="914400" rtl="0" eaLnBrk="1" fontAlgn="auto" latinLnBrk="0" hangingPunct="1">
              <a:lnSpc>
                <a:spcPct val="11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</a:lstStyle>
          <a:p>
            <a:pPr marL="216000" marR="0" lvl="0" indent="-216000" algn="l" defTabSz="914400" rtl="0" eaLnBrk="1" fontAlgn="auto" latinLnBrk="0" hangingPunct="1">
              <a:lnSpc>
                <a:spcPct val="11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 dirty="0"/>
              <a:t>Klik for at tilføje tekst eller klik på tabel-/graf-/SmartArt- eller video-ikon for at indsætte objekt. For at indsætte billede, skift til layout: To spalter A (tekst/billede)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F2E72B64-D55D-4FBA-AB42-4C2CA5D3CF6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6DADB41-5B61-432D-92FA-EEC31C8E4EF3}" type="datetime2">
              <a:rPr lang="da-DK" smtClean="0"/>
              <a:t>28. marts 2023</a:t>
            </a:fld>
            <a:endParaRPr lang="da-DK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3ACC3765-6ADF-4B65-9AFB-C50473B973C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a-DK"/>
              <a:t>Arbejdsområder og -opgaver i LEU og ASK</a:t>
            </a:r>
            <a:endParaRPr lang="da-DK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659E3BFE-B339-4298-976D-1CB2ABBC25E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a-DK" dirty="0"/>
              <a:t>Side </a:t>
            </a:r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2716655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spalter B (tekst/billed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591138"/>
            <a:ext cx="7288213" cy="898297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>Klik for at tilføje titel</a:t>
            </a:r>
            <a:endParaRPr lang="da-DK" noProof="0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6810C78A-23C9-4426-9672-56EAFB0CECFC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539750" y="1053909"/>
            <a:ext cx="7288214" cy="435525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-DK" dirty="0"/>
              <a:t>Klik for at tilføje underoverskrift i en linj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quarter" idx="13" hasCustomPrompt="1"/>
          </p:nvPr>
        </p:nvSpPr>
        <p:spPr>
          <a:xfrm>
            <a:off x="539749" y="1818000"/>
            <a:ext cx="3463926" cy="428276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noProof="0" dirty="0"/>
              <a:t>Klik for at tilføje tekst</a:t>
            </a:r>
          </a:p>
          <a:p>
            <a:pPr lvl="1"/>
            <a:r>
              <a:rPr lang="da-DK" noProof="0" dirty="0"/>
              <a:t>Secon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2"/>
            <a:r>
              <a:rPr lang="da-DK" noProof="0" dirty="0"/>
              <a:t>Thir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3"/>
            <a:r>
              <a:rPr lang="da-DK" noProof="0" dirty="0" err="1"/>
              <a:t>Fourth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4"/>
            <a:r>
              <a:rPr lang="da-DK" noProof="0" dirty="0"/>
              <a:t>Fifth </a:t>
            </a:r>
            <a:r>
              <a:rPr lang="da-DK" noProof="0" dirty="0" err="1"/>
              <a:t>level</a:t>
            </a:r>
            <a:endParaRPr lang="da-DK" noProof="0" dirty="0"/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62450" y="1871663"/>
            <a:ext cx="7288213" cy="4229100"/>
          </a:xfrm>
          <a:solidFill>
            <a:schemeClr val="bg2"/>
          </a:solidFill>
        </p:spPr>
        <p:txBody>
          <a:bodyPr tIns="648000" anchor="ctr" anchorCtr="0"/>
          <a:lstStyle>
            <a:lvl1pPr marL="0" indent="0" algn="ctr">
              <a:buNone/>
              <a:defRPr sz="1500"/>
            </a:lvl1pPr>
          </a:lstStyle>
          <a:p>
            <a:r>
              <a:rPr lang="da-DK" noProof="0" dirty="0"/>
              <a:t>Klik på ikonet for at tilføje billede eller grafik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F2E72B64-D55D-4FBA-AB42-4C2CA5D3CF6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B8FE0B5E-7A5C-4C96-9D40-4E27A77106B2}" type="datetime2">
              <a:rPr lang="da-DK" smtClean="0"/>
              <a:t>28. marts 2023</a:t>
            </a:fld>
            <a:endParaRPr lang="da-DK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3ACC3765-6ADF-4B65-9AFB-C50473B973C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a-DK"/>
              <a:t>Arbejdsområder og -opgaver i LEU og ASK</a:t>
            </a:r>
            <a:endParaRPr lang="da-DK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659E3BFE-B339-4298-976D-1CB2ABBC25E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a-DK" dirty="0"/>
              <a:t>Side </a:t>
            </a:r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9821775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spalter B (tekst/graf etc.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591138"/>
            <a:ext cx="7288213" cy="898297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>Klik for at tilføje titel</a:t>
            </a:r>
            <a:endParaRPr lang="da-DK" noProof="0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6810C78A-23C9-4426-9672-56EAFB0CECFC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539750" y="1053909"/>
            <a:ext cx="7288214" cy="435525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-DK" dirty="0"/>
              <a:t>Klik for at tilføje underoverskrift i en linj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quarter" idx="13" hasCustomPrompt="1"/>
          </p:nvPr>
        </p:nvSpPr>
        <p:spPr>
          <a:xfrm>
            <a:off x="539749" y="1818000"/>
            <a:ext cx="3463926" cy="4282763"/>
          </a:xfrm>
        </p:spPr>
        <p:txBody>
          <a:bodyPr/>
          <a:lstStyle>
            <a:lvl1pPr marL="216000" marR="0" indent="-216000" algn="l" defTabSz="914400" rtl="0" eaLnBrk="1" fontAlgn="auto" latinLnBrk="0" hangingPunct="1">
              <a:lnSpc>
                <a:spcPct val="11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</a:lstStyle>
          <a:p>
            <a:pPr marL="216000" marR="0" lvl="0" indent="-216000" algn="l" defTabSz="914400" rtl="0" eaLnBrk="1" fontAlgn="auto" latinLnBrk="0" hangingPunct="1">
              <a:lnSpc>
                <a:spcPct val="11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 dirty="0"/>
              <a:t>Klik for at tilføje tekst eller klik på tabel-/graf-/SmartArt- eller video-ikon for at indsætte objekt. For at indsætte billede, skift til layout: To spalter B (tekst/billede)</a:t>
            </a:r>
          </a:p>
          <a:p>
            <a:pPr lvl="0"/>
            <a:endParaRPr lang="da-DK" noProof="0" dirty="0"/>
          </a:p>
          <a:p>
            <a:pPr lvl="1"/>
            <a:r>
              <a:rPr lang="da-DK" noProof="0" dirty="0"/>
              <a:t>Secon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2"/>
            <a:r>
              <a:rPr lang="da-DK" noProof="0" dirty="0"/>
              <a:t>Thir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3"/>
            <a:r>
              <a:rPr lang="da-DK" noProof="0" dirty="0" err="1"/>
              <a:t>Fourth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4"/>
            <a:r>
              <a:rPr lang="da-DK" noProof="0" dirty="0"/>
              <a:t>Fifth </a:t>
            </a:r>
            <a:r>
              <a:rPr lang="da-DK" noProof="0" dirty="0" err="1"/>
              <a:t>level</a:t>
            </a:r>
            <a:endParaRPr lang="da-DK" noProof="0" dirty="0"/>
          </a:p>
        </p:txBody>
      </p:sp>
      <p:sp>
        <p:nvSpPr>
          <p:cNvPr id="13" name="Content Placeholder 13">
            <a:extLst>
              <a:ext uri="{FF2B5EF4-FFF2-40B4-BE49-F238E27FC236}">
                <a16:creationId xmlns:a16="http://schemas.microsoft.com/office/drawing/2014/main" id="{7583199B-5647-449E-90B4-9FCBFAD89242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362450" y="1818001"/>
            <a:ext cx="7288213" cy="42827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tilføje tekst eller klik på tabel-/graf-/SmartArt- eller video-ikon for at indsætte objekt. For at indsætte billede, skift til layout: To spalter B (tekst/billede)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F2E72B64-D55D-4FBA-AB42-4C2CA5D3CF6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1739D112-0A5D-4452-B839-F2DE2ADF5825}" type="datetime2">
              <a:rPr lang="da-DK" smtClean="0"/>
              <a:t>28. marts 2023</a:t>
            </a:fld>
            <a:endParaRPr lang="da-DK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3ACC3765-6ADF-4B65-9AFB-C50473B973C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a-DK"/>
              <a:t>Arbejdsområder og -opgaver i LEU og ASK</a:t>
            </a:r>
            <a:endParaRPr lang="da-DK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659E3BFE-B339-4298-976D-1CB2ABBC25E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a-DK" dirty="0"/>
              <a:t>Side </a:t>
            </a:r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5058316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32.xml"/><Relationship Id="rId18" Type="http://schemas.openxmlformats.org/officeDocument/2006/relationships/slideLayout" Target="../slideLayouts/slideLayout37.xml"/><Relationship Id="rId26" Type="http://schemas.openxmlformats.org/officeDocument/2006/relationships/image" Target="../media/image2.emf"/><Relationship Id="rId3" Type="http://schemas.openxmlformats.org/officeDocument/2006/relationships/slideLayout" Target="../slideLayouts/slideLayout22.xml"/><Relationship Id="rId21" Type="http://schemas.openxmlformats.org/officeDocument/2006/relationships/vmlDrawing" Target="../drawings/vmlDrawing2.v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slideLayout" Target="../slideLayouts/slideLayout36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24" Type="http://schemas.openxmlformats.org/officeDocument/2006/relationships/oleObject" Target="../embeddings/oleObject2.bin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23" Type="http://schemas.openxmlformats.org/officeDocument/2006/relationships/tags" Target="../tags/tag5.xml"/><Relationship Id="rId10" Type="http://schemas.openxmlformats.org/officeDocument/2006/relationships/slideLayout" Target="../slideLayouts/slideLayout29.xml"/><Relationship Id="rId19" Type="http://schemas.openxmlformats.org/officeDocument/2006/relationships/slideLayout" Target="../slideLayouts/slideLayout38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Relationship Id="rId22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42433203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8" name="think-cell Slide" r:id="rId24" imgW="383" imgH="384" progId="TCLayout.ActiveDocument.1">
                  <p:embed/>
                </p:oleObj>
              </mc:Choice>
              <mc:Fallback>
                <p:oleObj name="think-cell Slide" r:id="rId2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ktangel 4" hidden="1"/>
          <p:cNvSpPr/>
          <p:nvPr userDrawn="1">
            <p:custDataLst>
              <p:tags r:id="rId2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11000"/>
              </a:lnSpc>
            </a:pPr>
            <a:endParaRPr lang="da-DK" sz="3000" b="1" i="0" baseline="0" noProof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591138"/>
            <a:ext cx="11110912" cy="898297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9749" y="1818000"/>
            <a:ext cx="11110913" cy="428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noProof="0" dirty="0"/>
              <a:t>Klik for at tilføje tekst</a:t>
            </a:r>
          </a:p>
          <a:p>
            <a:pPr lvl="1"/>
            <a:r>
              <a:rPr lang="da-DK" noProof="0" dirty="0"/>
              <a:t>Secon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2"/>
            <a:r>
              <a:rPr lang="da-DK" noProof="0" dirty="0"/>
              <a:t>Thir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3"/>
            <a:r>
              <a:rPr lang="da-DK" noProof="0" dirty="0" err="1"/>
              <a:t>Fourth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4"/>
            <a:r>
              <a:rPr lang="da-DK" noProof="0" dirty="0"/>
              <a:t>Fifth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5"/>
            <a:r>
              <a:rPr lang="da-DK" noProof="0" dirty="0"/>
              <a:t>6</a:t>
            </a:r>
          </a:p>
          <a:p>
            <a:pPr lvl="6"/>
            <a:r>
              <a:rPr lang="da-DK" noProof="0" dirty="0"/>
              <a:t>7</a:t>
            </a:r>
          </a:p>
          <a:p>
            <a:pPr lvl="7"/>
            <a:r>
              <a:rPr lang="da-DK" noProof="0" dirty="0"/>
              <a:t>8</a:t>
            </a:r>
          </a:p>
          <a:p>
            <a:pPr lvl="8"/>
            <a:r>
              <a:rPr lang="da-DK" noProof="0" dirty="0"/>
              <a:t>9</a:t>
            </a:r>
          </a:p>
        </p:txBody>
      </p:sp>
      <p:sp>
        <p:nvSpPr>
          <p:cNvPr id="4" name="Date_GeneralDate"/>
          <p:cNvSpPr>
            <a:spLocks noGrp="1"/>
          </p:cNvSpPr>
          <p:nvPr>
            <p:ph type="dt" sz="half" idx="2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85DA1FD6-2E40-450C-B44A-33031E4171C8}" type="datetime2">
              <a:rPr lang="da-DK" smtClean="0"/>
              <a:t>28. marts 2023</a:t>
            </a:fld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099675" y="6414568"/>
            <a:ext cx="1550988" cy="16573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r>
              <a:rPr lang="da-DK" dirty="0"/>
              <a:t>Side </a:t>
            </a:r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38" name="Footer Placeholder 37">
            <a:extLst>
              <a:ext uri="{FF2B5EF4-FFF2-40B4-BE49-F238E27FC236}">
                <a16:creationId xmlns:a16="http://schemas.microsoft.com/office/drawing/2014/main" id="{CCCBD1A7-5775-4601-82CE-D8CF84D9828E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1136000" y="6414568"/>
            <a:ext cx="4779025" cy="16573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r>
              <a:rPr lang="da-DK"/>
              <a:t>Arbejdsområder og -opgaver i LEU og ASK</a:t>
            </a:r>
            <a:endParaRPr lang="da-DK" dirty="0"/>
          </a:p>
        </p:txBody>
      </p:sp>
      <p:pic>
        <p:nvPicPr>
          <p:cNvPr id="40" name="Logo">
            <a:extLst>
              <a:ext uri="{FF2B5EF4-FFF2-40B4-BE49-F238E27FC236}">
                <a16:creationId xmlns:a16="http://schemas.microsoft.com/office/drawing/2014/main" id="{E5FD7ED3-104A-4CCF-B95E-797B0FC68FE3}"/>
              </a:ext>
            </a:extLst>
          </p:cNvPr>
          <p:cNvPicPr>
            <a:picLocks noChangeAspect="1"/>
          </p:cNvPicPr>
          <p:nvPr userDrawn="1"/>
        </p:nvPicPr>
        <p:blipFill>
          <a:blip r:embed="rId2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750" y="6311088"/>
            <a:ext cx="252000" cy="243871"/>
          </a:xfrm>
          <a:prstGeom prst="rect">
            <a:avLst/>
          </a:prstGeom>
        </p:spPr>
      </p:pic>
      <p:grpSp>
        <p:nvGrpSpPr>
          <p:cNvPr id="2" name="Grid" hidden="1">
            <a:extLst>
              <a:ext uri="{FF2B5EF4-FFF2-40B4-BE49-F238E27FC236}">
                <a16:creationId xmlns:a16="http://schemas.microsoft.com/office/drawing/2014/main" id="{D9DA0217-DDBA-42D8-BFEA-C711061869DC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C1A61A5F-B6DF-45B8-896B-33FF532A5490}"/>
                </a:ext>
              </a:extLst>
            </p:cNvPr>
            <p:cNvSpPr/>
            <p:nvPr userDrawn="1"/>
          </p:nvSpPr>
          <p:spPr>
            <a:xfrm>
              <a:off x="0" y="0"/>
              <a:ext cx="540000" cy="648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2000" noProof="0" dirty="0" err="1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FE45933D-D26B-4871-9F0D-F4CC697CA5CF}"/>
                </a:ext>
              </a:extLst>
            </p:cNvPr>
            <p:cNvSpPr/>
            <p:nvPr userDrawn="1"/>
          </p:nvSpPr>
          <p:spPr>
            <a:xfrm>
              <a:off x="11652000" y="6102000"/>
              <a:ext cx="540000" cy="756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2000" noProof="0" dirty="0" err="1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5F98958-2557-4BE5-95DA-04CE7AEF4586}"/>
                </a:ext>
              </a:extLst>
            </p:cNvPr>
            <p:cNvSpPr/>
            <p:nvPr userDrawn="1"/>
          </p:nvSpPr>
          <p:spPr>
            <a:xfrm flipV="1">
              <a:off x="1136000" y="1115999"/>
              <a:ext cx="360000" cy="756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2000" noProof="0" dirty="0" err="1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6DD6A944-E535-4B7C-B906-9F3806682A31}"/>
                </a:ext>
              </a:extLst>
            </p:cNvPr>
            <p:cNvSpPr/>
            <p:nvPr userDrawn="1"/>
          </p:nvSpPr>
          <p:spPr>
            <a:xfrm flipV="1">
              <a:off x="2092000" y="6551612"/>
              <a:ext cx="360000" cy="306387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2000" noProof="0" dirty="0" err="1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CDAD70B-D79A-4858-851E-7B49F1F95198}"/>
                </a:ext>
              </a:extLst>
            </p:cNvPr>
            <p:cNvSpPr/>
            <p:nvPr userDrawn="1"/>
          </p:nvSpPr>
          <p:spPr>
            <a:xfrm flipV="1">
              <a:off x="3048000" y="6551612"/>
              <a:ext cx="360000" cy="306387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2000" noProof="0" dirty="0" err="1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78B331D0-FEB9-4D2D-8004-762C2E119007}"/>
                </a:ext>
              </a:extLst>
            </p:cNvPr>
            <p:cNvSpPr/>
            <p:nvPr userDrawn="1"/>
          </p:nvSpPr>
          <p:spPr>
            <a:xfrm flipV="1">
              <a:off x="4004000" y="6551612"/>
              <a:ext cx="360000" cy="306387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2000" noProof="0" dirty="0" err="1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1C5949D6-F9B8-4C31-9E7D-D7A8658AEE36}"/>
                </a:ext>
              </a:extLst>
            </p:cNvPr>
            <p:cNvSpPr/>
            <p:nvPr userDrawn="1"/>
          </p:nvSpPr>
          <p:spPr>
            <a:xfrm flipV="1">
              <a:off x="4960000" y="6551612"/>
              <a:ext cx="360000" cy="306387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2000" noProof="0" dirty="0" err="1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B3ED0853-D766-41A3-82DC-907300F2E4F9}"/>
                </a:ext>
              </a:extLst>
            </p:cNvPr>
            <p:cNvSpPr/>
            <p:nvPr userDrawn="1"/>
          </p:nvSpPr>
          <p:spPr>
            <a:xfrm flipV="1">
              <a:off x="5916000" y="6551612"/>
              <a:ext cx="360000" cy="306387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2000" noProof="0" dirty="0" err="1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78906748-FD2B-4C9F-8C47-188489A17A75}"/>
                </a:ext>
              </a:extLst>
            </p:cNvPr>
            <p:cNvSpPr/>
            <p:nvPr userDrawn="1"/>
          </p:nvSpPr>
          <p:spPr>
            <a:xfrm flipV="1">
              <a:off x="6872000" y="6551612"/>
              <a:ext cx="360000" cy="306387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2000" noProof="0" dirty="0" err="1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61753919-057A-46F5-BAE9-8427341C6BF4}"/>
                </a:ext>
              </a:extLst>
            </p:cNvPr>
            <p:cNvSpPr/>
            <p:nvPr userDrawn="1"/>
          </p:nvSpPr>
          <p:spPr>
            <a:xfrm flipV="1">
              <a:off x="7828000" y="6551612"/>
              <a:ext cx="360000" cy="306387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2000" noProof="0" dirty="0" err="1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47F0372E-1B27-48BB-8296-72A14978DC99}"/>
                </a:ext>
              </a:extLst>
            </p:cNvPr>
            <p:cNvSpPr/>
            <p:nvPr userDrawn="1"/>
          </p:nvSpPr>
          <p:spPr>
            <a:xfrm flipV="1">
              <a:off x="8784000" y="6551612"/>
              <a:ext cx="360000" cy="306387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2000" noProof="0" dirty="0" err="1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64B14FB1-4F65-449B-8EEC-0D06182E37D0}"/>
                </a:ext>
              </a:extLst>
            </p:cNvPr>
            <p:cNvSpPr/>
            <p:nvPr userDrawn="1"/>
          </p:nvSpPr>
          <p:spPr>
            <a:xfrm flipV="1">
              <a:off x="9740000" y="6551612"/>
              <a:ext cx="360000" cy="306387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2000" noProof="0" dirty="0" err="1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EC5217D4-9E07-420F-BDEF-B8FC8DD76716}"/>
                </a:ext>
              </a:extLst>
            </p:cNvPr>
            <p:cNvSpPr/>
            <p:nvPr userDrawn="1"/>
          </p:nvSpPr>
          <p:spPr>
            <a:xfrm flipV="1">
              <a:off x="10696000" y="6551612"/>
              <a:ext cx="360000" cy="306387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2000" noProof="0" dirty="0" err="1"/>
            </a:p>
          </p:txBody>
        </p:sp>
      </p:grpSp>
    </p:spTree>
    <p:extLst>
      <p:ext uri="{BB962C8B-B14F-4D97-AF65-F5344CB8AC3E}">
        <p14:creationId xmlns:p14="http://schemas.microsoft.com/office/powerpoint/2010/main" val="180999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41" r:id="rId2"/>
    <p:sldLayoutId id="2147483746" r:id="rId3"/>
    <p:sldLayoutId id="2147483747" r:id="rId4"/>
    <p:sldLayoutId id="2147483731" r:id="rId5"/>
    <p:sldLayoutId id="2147483749" r:id="rId6"/>
    <p:sldLayoutId id="2147483750" r:id="rId7"/>
    <p:sldLayoutId id="2147483751" r:id="rId8"/>
    <p:sldLayoutId id="2147483752" r:id="rId9"/>
    <p:sldLayoutId id="2147483753" r:id="rId10"/>
    <p:sldLayoutId id="2147483754" r:id="rId11"/>
    <p:sldLayoutId id="2147483756" r:id="rId12"/>
    <p:sldLayoutId id="2147483755" r:id="rId13"/>
    <p:sldLayoutId id="2147483759" r:id="rId14"/>
    <p:sldLayoutId id="2147483758" r:id="rId15"/>
    <p:sldLayoutId id="2147483760" r:id="rId16"/>
    <p:sldLayoutId id="2147483757" r:id="rId17"/>
    <p:sldLayoutId id="2147483744" r:id="rId18"/>
    <p:sldLayoutId id="2147483670" r:id="rId19"/>
  </p:sldLayoutIdLst>
  <p:hf hdr="0"/>
  <p:txStyles>
    <p:titleStyle>
      <a:lvl1pPr algn="l" defTabSz="914400" rtl="0" eaLnBrk="1" latinLnBrk="0" hangingPunct="1">
        <a:lnSpc>
          <a:spcPct val="89000"/>
        </a:lnSpc>
        <a:spcBef>
          <a:spcPct val="0"/>
        </a:spcBef>
        <a:buNone/>
        <a:defRPr sz="3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6000" indent="-216000" algn="l" defTabSz="914400" rtl="0" eaLnBrk="1" latinLnBrk="0" hangingPunct="1">
        <a:lnSpc>
          <a:spcPct val="111000"/>
        </a:lnSpc>
        <a:spcBef>
          <a:spcPts val="0"/>
        </a:spcBef>
        <a:buFont typeface="Arial" panose="020B0604020202020204" pitchFamily="34" charset="0"/>
        <a:buChar char="•"/>
        <a:defRPr sz="1500" kern="1200" spc="10" baseline="0">
          <a:solidFill>
            <a:schemeClr val="tx1"/>
          </a:solidFill>
          <a:latin typeface="+mn-lt"/>
          <a:ea typeface="+mn-ea"/>
          <a:cs typeface="+mn-cs"/>
        </a:defRPr>
      </a:lvl1pPr>
      <a:lvl2pPr marL="432000" indent="-216000" algn="l" defTabSz="914400" rtl="0" eaLnBrk="1" latinLnBrk="0" hangingPunct="1">
        <a:lnSpc>
          <a:spcPct val="111000"/>
        </a:lnSpc>
        <a:spcBef>
          <a:spcPts val="0"/>
        </a:spcBef>
        <a:buFont typeface="Arial" panose="020B0604020202020204" pitchFamily="34" charset="0"/>
        <a:buChar char="•"/>
        <a:defRPr sz="1200" kern="1200" spc="10" baseline="0">
          <a:solidFill>
            <a:schemeClr val="tx1"/>
          </a:solidFill>
          <a:latin typeface="+mn-lt"/>
          <a:ea typeface="+mn-ea"/>
          <a:cs typeface="+mn-cs"/>
        </a:defRPr>
      </a:lvl2pPr>
      <a:lvl3pPr marL="648000" indent="-216000" algn="l" defTabSz="914400" rtl="0" eaLnBrk="1" latinLnBrk="0" hangingPunct="1">
        <a:lnSpc>
          <a:spcPct val="111000"/>
        </a:lnSpc>
        <a:spcBef>
          <a:spcPts val="0"/>
        </a:spcBef>
        <a:buFont typeface="Arial" panose="020B0604020202020204" pitchFamily="34" charset="0"/>
        <a:buChar char="•"/>
        <a:defRPr sz="1200" kern="1200" spc="10" baseline="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11000"/>
        </a:lnSpc>
        <a:spcBef>
          <a:spcPts val="0"/>
        </a:spcBef>
        <a:buFont typeface="Arial" panose="020B0604020202020204" pitchFamily="34" charset="0"/>
        <a:buChar char="​"/>
        <a:defRPr sz="1500" kern="1200" spc="10" baseline="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11000"/>
        </a:lnSpc>
        <a:spcBef>
          <a:spcPts val="0"/>
        </a:spcBef>
        <a:buFont typeface="Arial" panose="020B0604020202020204" pitchFamily="34" charset="0"/>
        <a:buChar char="​"/>
        <a:defRPr sz="1500" b="1" kern="1200" spc="10" baseline="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11000"/>
        </a:lnSpc>
        <a:spcBef>
          <a:spcPts val="500"/>
        </a:spcBef>
        <a:buFont typeface="Arial" panose="020B0604020202020204" pitchFamily="34" charset="0"/>
        <a:buChar char="​"/>
        <a:defRPr sz="900" kern="1200" spc="10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89000"/>
        </a:lnSpc>
        <a:spcBef>
          <a:spcPts val="0"/>
        </a:spcBef>
        <a:buFont typeface="Arial" panose="020B0604020202020204" pitchFamily="34" charset="0"/>
        <a:buChar char="​"/>
        <a:tabLst/>
        <a:defRPr sz="3000" b="1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86000"/>
        </a:lnSpc>
        <a:spcBef>
          <a:spcPts val="0"/>
        </a:spcBef>
        <a:buFont typeface="Arial" panose="020B0604020202020204" pitchFamily="34" charset="0"/>
        <a:buChar char="​"/>
        <a:tabLst/>
        <a:defRPr sz="52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​"/>
        <a:tabLst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1317" userDrawn="1">
          <p15:clr>
            <a:srgbClr val="F26B43"/>
          </p15:clr>
        </p15:guide>
        <p15:guide id="2" pos="1544" userDrawn="1">
          <p15:clr>
            <a:srgbClr val="F26B43"/>
          </p15:clr>
        </p15:guide>
        <p15:guide id="3" orient="horz" pos="4126" userDrawn="1">
          <p15:clr>
            <a:srgbClr val="F26B43"/>
          </p15:clr>
        </p15:guide>
        <p15:guide id="5" pos="1920" userDrawn="1">
          <p15:clr>
            <a:srgbClr val="F26B43"/>
          </p15:clr>
        </p15:guide>
        <p15:guide id="6" pos="2146" userDrawn="1">
          <p15:clr>
            <a:srgbClr val="F26B43"/>
          </p15:clr>
        </p15:guide>
        <p15:guide id="7" pos="2522" userDrawn="1">
          <p15:clr>
            <a:srgbClr val="F26B43"/>
          </p15:clr>
        </p15:guide>
        <p15:guide id="8" pos="2748" userDrawn="1">
          <p15:clr>
            <a:srgbClr val="F26B43"/>
          </p15:clr>
        </p15:guide>
        <p15:guide id="9" pos="3124" userDrawn="1">
          <p15:clr>
            <a:srgbClr val="F26B43"/>
          </p15:clr>
        </p15:guide>
        <p15:guide id="10" pos="3351" userDrawn="1">
          <p15:clr>
            <a:srgbClr val="F26B43"/>
          </p15:clr>
        </p15:guide>
        <p15:guide id="11" pos="3726" userDrawn="1">
          <p15:clr>
            <a:srgbClr val="F26B43"/>
          </p15:clr>
        </p15:guide>
        <p15:guide id="12" pos="3953" userDrawn="1">
          <p15:clr>
            <a:srgbClr val="F26B43"/>
          </p15:clr>
        </p15:guide>
        <p15:guide id="13" pos="4328" userDrawn="1">
          <p15:clr>
            <a:srgbClr val="F26B43"/>
          </p15:clr>
        </p15:guide>
        <p15:guide id="14" pos="4555" userDrawn="1">
          <p15:clr>
            <a:srgbClr val="F26B43"/>
          </p15:clr>
        </p15:guide>
        <p15:guide id="15" pos="4931" userDrawn="1">
          <p15:clr>
            <a:srgbClr val="F26B43"/>
          </p15:clr>
        </p15:guide>
        <p15:guide id="16" pos="5157" userDrawn="1">
          <p15:clr>
            <a:srgbClr val="F26B43"/>
          </p15:clr>
        </p15:guide>
        <p15:guide id="17" pos="5533" userDrawn="1">
          <p15:clr>
            <a:srgbClr val="F26B43"/>
          </p15:clr>
        </p15:guide>
        <p15:guide id="18" pos="5760" userDrawn="1">
          <p15:clr>
            <a:srgbClr val="F26B43"/>
          </p15:clr>
        </p15:guide>
        <p15:guide id="19" pos="6135" userDrawn="1">
          <p15:clr>
            <a:srgbClr val="F26B43"/>
          </p15:clr>
        </p15:guide>
        <p15:guide id="20" pos="6362" userDrawn="1">
          <p15:clr>
            <a:srgbClr val="F26B43"/>
          </p15:clr>
        </p15:guide>
        <p15:guide id="21" pos="6737" userDrawn="1">
          <p15:clr>
            <a:srgbClr val="F26B43"/>
          </p15:clr>
        </p15:guide>
        <p15:guide id="22" pos="6964" userDrawn="1">
          <p15:clr>
            <a:srgbClr val="F26B43"/>
          </p15:clr>
        </p15:guide>
        <p15:guide id="23" pos="715" userDrawn="1">
          <p15:clr>
            <a:srgbClr val="F26B43"/>
          </p15:clr>
        </p15:guide>
        <p15:guide id="24" pos="942" userDrawn="1">
          <p15:clr>
            <a:srgbClr val="F26B43"/>
          </p15:clr>
        </p15:guide>
        <p15:guide id="25" orient="horz" pos="702" userDrawn="1">
          <p15:clr>
            <a:srgbClr val="F26B43"/>
          </p15:clr>
        </p15:guide>
        <p15:guide id="26" orient="horz" pos="1179" userDrawn="1">
          <p15:clr>
            <a:srgbClr val="F26B43"/>
          </p15:clr>
        </p15:guide>
        <p15:guide id="28" pos="340" userDrawn="1">
          <p15:clr>
            <a:srgbClr val="F26B43"/>
          </p15:clr>
        </p15:guide>
        <p15:guide id="30" orient="horz" pos="408" userDrawn="1">
          <p15:clr>
            <a:srgbClr val="F26B43"/>
          </p15:clr>
        </p15:guide>
        <p15:guide id="31" pos="7339" userDrawn="1">
          <p15:clr>
            <a:srgbClr val="F26B43"/>
          </p15:clr>
        </p15:guide>
        <p15:guide id="32" orient="horz" pos="3843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24" name="think-cell Slide" r:id="rId24" imgW="360" imgH="360" progId="TCLayout.ActiveDocument.1">
                  <p:embed/>
                </p:oleObj>
              </mc:Choice>
              <mc:Fallback>
                <p:oleObj name="think-cell Slide" r:id="rId24" imgW="360" imgH="36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ktangel 4" hidden="1"/>
          <p:cNvSpPr/>
          <p:nvPr userDrawn="1">
            <p:custDataLst>
              <p:tags r:id="rId2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11000"/>
              </a:lnSpc>
            </a:pPr>
            <a:endParaRPr lang="da-DK" sz="3000" b="1" i="0" baseline="0" noProof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591138"/>
            <a:ext cx="11110912" cy="898297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9749" y="1818000"/>
            <a:ext cx="11110913" cy="428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noProof="0" dirty="0"/>
              <a:t>Klik for at tilføje tekst</a:t>
            </a:r>
          </a:p>
          <a:p>
            <a:pPr lvl="1"/>
            <a:r>
              <a:rPr lang="da-DK" noProof="0" dirty="0"/>
              <a:t>Secon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2"/>
            <a:r>
              <a:rPr lang="da-DK" noProof="0" dirty="0"/>
              <a:t>Thir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3"/>
            <a:r>
              <a:rPr lang="da-DK" noProof="0" dirty="0" err="1"/>
              <a:t>Fourth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4"/>
            <a:r>
              <a:rPr lang="da-DK" noProof="0" dirty="0"/>
              <a:t>Fifth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5"/>
            <a:r>
              <a:rPr lang="da-DK" noProof="0" dirty="0"/>
              <a:t>6</a:t>
            </a:r>
          </a:p>
          <a:p>
            <a:pPr lvl="6"/>
            <a:r>
              <a:rPr lang="da-DK" noProof="0" dirty="0"/>
              <a:t>7</a:t>
            </a:r>
          </a:p>
          <a:p>
            <a:pPr lvl="7"/>
            <a:r>
              <a:rPr lang="da-DK" noProof="0" dirty="0"/>
              <a:t>8</a:t>
            </a:r>
          </a:p>
          <a:p>
            <a:pPr lvl="8"/>
            <a:r>
              <a:rPr lang="da-DK" noProof="0" dirty="0"/>
              <a:t>9</a:t>
            </a:r>
          </a:p>
        </p:txBody>
      </p:sp>
      <p:sp>
        <p:nvSpPr>
          <p:cNvPr id="4" name="Date_GeneralDate"/>
          <p:cNvSpPr>
            <a:spLocks noGrp="1"/>
          </p:cNvSpPr>
          <p:nvPr>
            <p:ph type="dt" sz="half" idx="2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97A2EA8F-2285-458E-A477-DB35BB60DB62}" type="datetime2">
              <a:rPr lang="da-DK" smtClean="0"/>
              <a:t>28. marts 2023</a:t>
            </a:fld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099675" y="6414568"/>
            <a:ext cx="1550988" cy="16573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r>
              <a:rPr lang="da-DK" dirty="0"/>
              <a:t>Side </a:t>
            </a:r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38" name="Footer Placeholder 37">
            <a:extLst>
              <a:ext uri="{FF2B5EF4-FFF2-40B4-BE49-F238E27FC236}">
                <a16:creationId xmlns:a16="http://schemas.microsoft.com/office/drawing/2014/main" id="{CCCBD1A7-5775-4601-82CE-D8CF84D9828E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1136000" y="6414568"/>
            <a:ext cx="4779025" cy="16573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endParaRPr lang="da-DK" dirty="0"/>
          </a:p>
        </p:txBody>
      </p:sp>
      <p:pic>
        <p:nvPicPr>
          <p:cNvPr id="40" name="Logo">
            <a:extLst>
              <a:ext uri="{FF2B5EF4-FFF2-40B4-BE49-F238E27FC236}">
                <a16:creationId xmlns:a16="http://schemas.microsoft.com/office/drawing/2014/main" id="{E5FD7ED3-104A-4CCF-B95E-797B0FC68FE3}"/>
              </a:ext>
            </a:extLst>
          </p:cNvPr>
          <p:cNvPicPr>
            <a:picLocks noChangeAspect="1"/>
          </p:cNvPicPr>
          <p:nvPr userDrawn="1"/>
        </p:nvPicPr>
        <p:blipFill>
          <a:blip r:embed="rId2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750" y="6311088"/>
            <a:ext cx="252000" cy="243871"/>
          </a:xfrm>
          <a:prstGeom prst="rect">
            <a:avLst/>
          </a:prstGeom>
        </p:spPr>
      </p:pic>
      <p:grpSp>
        <p:nvGrpSpPr>
          <p:cNvPr id="2" name="Grid" hidden="1">
            <a:extLst>
              <a:ext uri="{FF2B5EF4-FFF2-40B4-BE49-F238E27FC236}">
                <a16:creationId xmlns:a16="http://schemas.microsoft.com/office/drawing/2014/main" id="{D9DA0217-DDBA-42D8-BFEA-C711061869DC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C1A61A5F-B6DF-45B8-896B-33FF532A5490}"/>
                </a:ext>
              </a:extLst>
            </p:cNvPr>
            <p:cNvSpPr/>
            <p:nvPr userDrawn="1"/>
          </p:nvSpPr>
          <p:spPr>
            <a:xfrm>
              <a:off x="0" y="0"/>
              <a:ext cx="540000" cy="648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2000" noProof="0" dirty="0" err="1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FE45933D-D26B-4871-9F0D-F4CC697CA5CF}"/>
                </a:ext>
              </a:extLst>
            </p:cNvPr>
            <p:cNvSpPr/>
            <p:nvPr userDrawn="1"/>
          </p:nvSpPr>
          <p:spPr>
            <a:xfrm>
              <a:off x="11652000" y="6102000"/>
              <a:ext cx="540000" cy="756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2000" noProof="0" dirty="0" err="1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5F98958-2557-4BE5-95DA-04CE7AEF4586}"/>
                </a:ext>
              </a:extLst>
            </p:cNvPr>
            <p:cNvSpPr/>
            <p:nvPr userDrawn="1"/>
          </p:nvSpPr>
          <p:spPr>
            <a:xfrm flipV="1">
              <a:off x="1136000" y="1115999"/>
              <a:ext cx="360000" cy="756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2000" noProof="0" dirty="0" err="1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6DD6A944-E535-4B7C-B906-9F3806682A31}"/>
                </a:ext>
              </a:extLst>
            </p:cNvPr>
            <p:cNvSpPr/>
            <p:nvPr userDrawn="1"/>
          </p:nvSpPr>
          <p:spPr>
            <a:xfrm flipV="1">
              <a:off x="2092000" y="6551612"/>
              <a:ext cx="360000" cy="306387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2000" noProof="0" dirty="0" err="1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CDAD70B-D79A-4858-851E-7B49F1F95198}"/>
                </a:ext>
              </a:extLst>
            </p:cNvPr>
            <p:cNvSpPr/>
            <p:nvPr userDrawn="1"/>
          </p:nvSpPr>
          <p:spPr>
            <a:xfrm flipV="1">
              <a:off x="3048000" y="6551612"/>
              <a:ext cx="360000" cy="306387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2000" noProof="0" dirty="0" err="1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78B331D0-FEB9-4D2D-8004-762C2E119007}"/>
                </a:ext>
              </a:extLst>
            </p:cNvPr>
            <p:cNvSpPr/>
            <p:nvPr userDrawn="1"/>
          </p:nvSpPr>
          <p:spPr>
            <a:xfrm flipV="1">
              <a:off x="4004000" y="6551612"/>
              <a:ext cx="360000" cy="306387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2000" noProof="0" dirty="0" err="1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1C5949D6-F9B8-4C31-9E7D-D7A8658AEE36}"/>
                </a:ext>
              </a:extLst>
            </p:cNvPr>
            <p:cNvSpPr/>
            <p:nvPr userDrawn="1"/>
          </p:nvSpPr>
          <p:spPr>
            <a:xfrm flipV="1">
              <a:off x="4960000" y="6551612"/>
              <a:ext cx="360000" cy="306387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2000" noProof="0" dirty="0" err="1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B3ED0853-D766-41A3-82DC-907300F2E4F9}"/>
                </a:ext>
              </a:extLst>
            </p:cNvPr>
            <p:cNvSpPr/>
            <p:nvPr userDrawn="1"/>
          </p:nvSpPr>
          <p:spPr>
            <a:xfrm flipV="1">
              <a:off x="5916000" y="6551612"/>
              <a:ext cx="360000" cy="306387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2000" noProof="0" dirty="0" err="1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78906748-FD2B-4C9F-8C47-188489A17A75}"/>
                </a:ext>
              </a:extLst>
            </p:cNvPr>
            <p:cNvSpPr/>
            <p:nvPr userDrawn="1"/>
          </p:nvSpPr>
          <p:spPr>
            <a:xfrm flipV="1">
              <a:off x="6872000" y="6551612"/>
              <a:ext cx="360000" cy="306387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2000" noProof="0" dirty="0" err="1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61753919-057A-46F5-BAE9-8427341C6BF4}"/>
                </a:ext>
              </a:extLst>
            </p:cNvPr>
            <p:cNvSpPr/>
            <p:nvPr userDrawn="1"/>
          </p:nvSpPr>
          <p:spPr>
            <a:xfrm flipV="1">
              <a:off x="7828000" y="6551612"/>
              <a:ext cx="360000" cy="306387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2000" noProof="0" dirty="0" err="1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47F0372E-1B27-48BB-8296-72A14978DC99}"/>
                </a:ext>
              </a:extLst>
            </p:cNvPr>
            <p:cNvSpPr/>
            <p:nvPr userDrawn="1"/>
          </p:nvSpPr>
          <p:spPr>
            <a:xfrm flipV="1">
              <a:off x="8784000" y="6551612"/>
              <a:ext cx="360000" cy="306387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2000" noProof="0" dirty="0" err="1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64B14FB1-4F65-449B-8EEC-0D06182E37D0}"/>
                </a:ext>
              </a:extLst>
            </p:cNvPr>
            <p:cNvSpPr/>
            <p:nvPr userDrawn="1"/>
          </p:nvSpPr>
          <p:spPr>
            <a:xfrm flipV="1">
              <a:off x="9740000" y="6551612"/>
              <a:ext cx="360000" cy="306387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2000" noProof="0" dirty="0" err="1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EC5217D4-9E07-420F-BDEF-B8FC8DD76716}"/>
                </a:ext>
              </a:extLst>
            </p:cNvPr>
            <p:cNvSpPr/>
            <p:nvPr userDrawn="1"/>
          </p:nvSpPr>
          <p:spPr>
            <a:xfrm flipV="1">
              <a:off x="10696000" y="6551612"/>
              <a:ext cx="360000" cy="306387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2000" noProof="0" dirty="0" err="1"/>
            </a:p>
          </p:txBody>
        </p:sp>
      </p:grpSp>
    </p:spTree>
    <p:extLst>
      <p:ext uri="{BB962C8B-B14F-4D97-AF65-F5344CB8AC3E}">
        <p14:creationId xmlns:p14="http://schemas.microsoft.com/office/powerpoint/2010/main" val="38633258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3" r:id="rId1"/>
    <p:sldLayoutId id="2147483764" r:id="rId2"/>
    <p:sldLayoutId id="2147483765" r:id="rId3"/>
    <p:sldLayoutId id="2147483766" r:id="rId4"/>
    <p:sldLayoutId id="2147483767" r:id="rId5"/>
    <p:sldLayoutId id="2147483768" r:id="rId6"/>
    <p:sldLayoutId id="2147483769" r:id="rId7"/>
    <p:sldLayoutId id="2147483770" r:id="rId8"/>
    <p:sldLayoutId id="2147483771" r:id="rId9"/>
    <p:sldLayoutId id="2147483772" r:id="rId10"/>
    <p:sldLayoutId id="2147483773" r:id="rId11"/>
    <p:sldLayoutId id="2147483774" r:id="rId12"/>
    <p:sldLayoutId id="2147483775" r:id="rId13"/>
    <p:sldLayoutId id="2147483776" r:id="rId14"/>
    <p:sldLayoutId id="2147483777" r:id="rId15"/>
    <p:sldLayoutId id="2147483778" r:id="rId16"/>
    <p:sldLayoutId id="2147483779" r:id="rId17"/>
    <p:sldLayoutId id="2147483780" r:id="rId18"/>
    <p:sldLayoutId id="2147483781" r:id="rId19"/>
  </p:sldLayoutIdLst>
  <p:hf hdr="0"/>
  <p:txStyles>
    <p:titleStyle>
      <a:lvl1pPr algn="l" defTabSz="914400" rtl="0" eaLnBrk="1" latinLnBrk="0" hangingPunct="1">
        <a:lnSpc>
          <a:spcPct val="89000"/>
        </a:lnSpc>
        <a:spcBef>
          <a:spcPct val="0"/>
        </a:spcBef>
        <a:buNone/>
        <a:defRPr sz="3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6000" indent="-216000" algn="l" defTabSz="914400" rtl="0" eaLnBrk="1" latinLnBrk="0" hangingPunct="1">
        <a:lnSpc>
          <a:spcPct val="111000"/>
        </a:lnSpc>
        <a:spcBef>
          <a:spcPts val="0"/>
        </a:spcBef>
        <a:buFont typeface="Arial" panose="020B0604020202020204" pitchFamily="34" charset="0"/>
        <a:buChar char="•"/>
        <a:defRPr sz="1500" kern="1200" spc="10" baseline="0">
          <a:solidFill>
            <a:schemeClr val="tx1"/>
          </a:solidFill>
          <a:latin typeface="+mn-lt"/>
          <a:ea typeface="+mn-ea"/>
          <a:cs typeface="+mn-cs"/>
        </a:defRPr>
      </a:lvl1pPr>
      <a:lvl2pPr marL="432000" indent="-216000" algn="l" defTabSz="914400" rtl="0" eaLnBrk="1" latinLnBrk="0" hangingPunct="1">
        <a:lnSpc>
          <a:spcPct val="111000"/>
        </a:lnSpc>
        <a:spcBef>
          <a:spcPts val="0"/>
        </a:spcBef>
        <a:buFont typeface="Arial" panose="020B0604020202020204" pitchFamily="34" charset="0"/>
        <a:buChar char="•"/>
        <a:defRPr sz="1200" kern="1200" spc="10" baseline="0">
          <a:solidFill>
            <a:schemeClr val="tx1"/>
          </a:solidFill>
          <a:latin typeface="+mn-lt"/>
          <a:ea typeface="+mn-ea"/>
          <a:cs typeface="+mn-cs"/>
        </a:defRPr>
      </a:lvl2pPr>
      <a:lvl3pPr marL="648000" indent="-216000" algn="l" defTabSz="914400" rtl="0" eaLnBrk="1" latinLnBrk="0" hangingPunct="1">
        <a:lnSpc>
          <a:spcPct val="111000"/>
        </a:lnSpc>
        <a:spcBef>
          <a:spcPts val="0"/>
        </a:spcBef>
        <a:buFont typeface="Arial" panose="020B0604020202020204" pitchFamily="34" charset="0"/>
        <a:buChar char="•"/>
        <a:defRPr sz="1200" kern="1200" spc="10" baseline="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11000"/>
        </a:lnSpc>
        <a:spcBef>
          <a:spcPts val="0"/>
        </a:spcBef>
        <a:buFont typeface="Arial" panose="020B0604020202020204" pitchFamily="34" charset="0"/>
        <a:buChar char="​"/>
        <a:defRPr sz="1500" kern="1200" spc="10" baseline="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11000"/>
        </a:lnSpc>
        <a:spcBef>
          <a:spcPts val="0"/>
        </a:spcBef>
        <a:buFont typeface="Arial" panose="020B0604020202020204" pitchFamily="34" charset="0"/>
        <a:buChar char="​"/>
        <a:defRPr sz="1500" b="1" kern="1200" spc="10" baseline="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11000"/>
        </a:lnSpc>
        <a:spcBef>
          <a:spcPts val="500"/>
        </a:spcBef>
        <a:buFont typeface="Arial" panose="020B0604020202020204" pitchFamily="34" charset="0"/>
        <a:buChar char="​"/>
        <a:defRPr sz="900" kern="1200" spc="10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89000"/>
        </a:lnSpc>
        <a:spcBef>
          <a:spcPts val="0"/>
        </a:spcBef>
        <a:buFont typeface="Arial" panose="020B0604020202020204" pitchFamily="34" charset="0"/>
        <a:buChar char="​"/>
        <a:tabLst/>
        <a:defRPr sz="3000" b="1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86000"/>
        </a:lnSpc>
        <a:spcBef>
          <a:spcPts val="0"/>
        </a:spcBef>
        <a:buFont typeface="Arial" panose="020B0604020202020204" pitchFamily="34" charset="0"/>
        <a:buChar char="​"/>
        <a:tabLst/>
        <a:defRPr sz="52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​"/>
        <a:tabLst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1317">
          <p15:clr>
            <a:srgbClr val="F26B43"/>
          </p15:clr>
        </p15:guide>
        <p15:guide id="2" pos="1544">
          <p15:clr>
            <a:srgbClr val="F26B43"/>
          </p15:clr>
        </p15:guide>
        <p15:guide id="3" orient="horz" pos="4126">
          <p15:clr>
            <a:srgbClr val="F26B43"/>
          </p15:clr>
        </p15:guide>
        <p15:guide id="5" pos="1920">
          <p15:clr>
            <a:srgbClr val="F26B43"/>
          </p15:clr>
        </p15:guide>
        <p15:guide id="6" pos="2146">
          <p15:clr>
            <a:srgbClr val="F26B43"/>
          </p15:clr>
        </p15:guide>
        <p15:guide id="7" pos="2522">
          <p15:clr>
            <a:srgbClr val="F26B43"/>
          </p15:clr>
        </p15:guide>
        <p15:guide id="8" pos="2748">
          <p15:clr>
            <a:srgbClr val="F26B43"/>
          </p15:clr>
        </p15:guide>
        <p15:guide id="9" pos="3124">
          <p15:clr>
            <a:srgbClr val="F26B43"/>
          </p15:clr>
        </p15:guide>
        <p15:guide id="10" pos="3351">
          <p15:clr>
            <a:srgbClr val="F26B43"/>
          </p15:clr>
        </p15:guide>
        <p15:guide id="11" pos="3726">
          <p15:clr>
            <a:srgbClr val="F26B43"/>
          </p15:clr>
        </p15:guide>
        <p15:guide id="12" pos="3953">
          <p15:clr>
            <a:srgbClr val="F26B43"/>
          </p15:clr>
        </p15:guide>
        <p15:guide id="13" pos="4328">
          <p15:clr>
            <a:srgbClr val="F26B43"/>
          </p15:clr>
        </p15:guide>
        <p15:guide id="14" pos="4555">
          <p15:clr>
            <a:srgbClr val="F26B43"/>
          </p15:clr>
        </p15:guide>
        <p15:guide id="15" pos="4931">
          <p15:clr>
            <a:srgbClr val="F26B43"/>
          </p15:clr>
        </p15:guide>
        <p15:guide id="16" pos="5157">
          <p15:clr>
            <a:srgbClr val="F26B43"/>
          </p15:clr>
        </p15:guide>
        <p15:guide id="17" pos="5533">
          <p15:clr>
            <a:srgbClr val="F26B43"/>
          </p15:clr>
        </p15:guide>
        <p15:guide id="18" pos="5760">
          <p15:clr>
            <a:srgbClr val="F26B43"/>
          </p15:clr>
        </p15:guide>
        <p15:guide id="19" pos="6135">
          <p15:clr>
            <a:srgbClr val="F26B43"/>
          </p15:clr>
        </p15:guide>
        <p15:guide id="20" pos="6362">
          <p15:clr>
            <a:srgbClr val="F26B43"/>
          </p15:clr>
        </p15:guide>
        <p15:guide id="21" pos="6737">
          <p15:clr>
            <a:srgbClr val="F26B43"/>
          </p15:clr>
        </p15:guide>
        <p15:guide id="22" pos="6964">
          <p15:clr>
            <a:srgbClr val="F26B43"/>
          </p15:clr>
        </p15:guide>
        <p15:guide id="23" pos="715">
          <p15:clr>
            <a:srgbClr val="F26B43"/>
          </p15:clr>
        </p15:guide>
        <p15:guide id="24" pos="942">
          <p15:clr>
            <a:srgbClr val="F26B43"/>
          </p15:clr>
        </p15:guide>
        <p15:guide id="25" orient="horz" pos="702">
          <p15:clr>
            <a:srgbClr val="F26B43"/>
          </p15:clr>
        </p15:guide>
        <p15:guide id="26" orient="horz" pos="1179">
          <p15:clr>
            <a:srgbClr val="F26B43"/>
          </p15:clr>
        </p15:guide>
        <p15:guide id="28" pos="340">
          <p15:clr>
            <a:srgbClr val="F26B43"/>
          </p15:clr>
        </p15:guide>
        <p15:guide id="30" orient="horz" pos="408">
          <p15:clr>
            <a:srgbClr val="F26B43"/>
          </p15:clr>
        </p15:guide>
        <p15:guide id="31" pos="7339">
          <p15:clr>
            <a:srgbClr val="F26B43"/>
          </p15:clr>
        </p15:guide>
        <p15:guide id="32" orient="horz" pos="384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hyperlink" Target="https://www.medst.dk/arbejdsomraader/ledelse/program-for-ledelsesudvikling-i-staten-plus/videnscaf%C3%A9-om-offentlig-ledelse/" TargetMode="Externa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medst.dk/arbejdsomraader/ledelse/program-for-ledelsesudvikling-i-staten-plus/videnscaf%C3%A9-om-offentlig-ledelse/" TargetMode="External"/><Relationship Id="rId2" Type="http://schemas.openxmlformats.org/officeDocument/2006/relationships/hyperlink" Target="https://www.medst.dk/arbejdsomraader/ledelse/virtuel-ledelse-inspiration-og-vaerktoejer/gode-raad-til-virtuelle-moeder/" TargetMode="Externa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7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tekst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Titel 3"/>
          <p:cNvSpPr>
            <a:spLocks noGrp="1"/>
          </p:cNvSpPr>
          <p:nvPr>
            <p:ph type="ctrTitle"/>
          </p:nvPr>
        </p:nvSpPr>
        <p:spPr>
          <a:xfrm>
            <a:off x="539749" y="1394807"/>
            <a:ext cx="8408308" cy="2068025"/>
          </a:xfrm>
        </p:spPr>
        <p:txBody>
          <a:bodyPr>
            <a:normAutofit/>
          </a:bodyPr>
          <a:lstStyle/>
          <a:p>
            <a:r>
              <a:rPr lang="da-DK" sz="5400" dirty="0" smtClean="0">
                <a:solidFill>
                  <a:srgbClr val="FFFFFF"/>
                </a:solidFill>
              </a:rPr>
              <a:t>Lav en videnscafé</a:t>
            </a:r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5" name="Undertitel 4"/>
          <p:cNvSpPr>
            <a:spLocks noGrp="1"/>
          </p:cNvSpPr>
          <p:nvPr>
            <p:ph type="subTitle" idx="1"/>
          </p:nvPr>
        </p:nvSpPr>
        <p:spPr>
          <a:xfrm>
            <a:off x="539749" y="3600449"/>
            <a:ext cx="9747251" cy="845820"/>
          </a:xfrm>
        </p:spPr>
        <p:txBody>
          <a:bodyPr/>
          <a:lstStyle/>
          <a:p>
            <a:pPr>
              <a:buNone/>
            </a:pPr>
            <a:r>
              <a:rPr lang="da-DK" i="1" dirty="0" smtClean="0"/>
              <a:t>Et startkit til </a:t>
            </a:r>
            <a:r>
              <a:rPr lang="da-DK" i="1" dirty="0"/>
              <a:t>f</a:t>
            </a:r>
            <a:r>
              <a:rPr lang="da-DK" i="1" dirty="0" smtClean="0"/>
              <a:t>å inspiration og gode råd til at lære at lave din egen videnscafé.</a:t>
            </a:r>
          </a:p>
          <a:p>
            <a:pPr>
              <a:buNone/>
            </a:pPr>
            <a:endParaRPr lang="da-DK" sz="1600" i="1" dirty="0"/>
          </a:p>
        </p:txBody>
      </p:sp>
      <p:sp>
        <p:nvSpPr>
          <p:cNvPr id="9" name="Pladsholder til sidefod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/>
              <a:t>Arbejdsområder og -opgaver i LEU og ASK</a:t>
            </a:r>
            <a:endParaRPr lang="da-DK" dirty="0"/>
          </a:p>
        </p:txBody>
      </p:sp>
      <p:sp>
        <p:nvSpPr>
          <p:cNvPr id="10" name="Pladsholder til slidenumm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pPr/>
              <a:t>0</a:t>
            </a:fld>
            <a:endParaRPr lang="da-DK" dirty="0"/>
          </a:p>
        </p:txBody>
      </p:sp>
      <p:sp>
        <p:nvSpPr>
          <p:cNvPr id="11" name="Pladsholder til tekst 10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1058246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ktangel 13"/>
          <p:cNvSpPr/>
          <p:nvPr/>
        </p:nvSpPr>
        <p:spPr>
          <a:xfrm>
            <a:off x="6115050" y="28575"/>
            <a:ext cx="6086475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1000"/>
              </a:lnSpc>
            </a:pPr>
            <a:endParaRPr lang="da-DK" sz="1500" noProof="0" dirty="0" err="1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524463"/>
            <a:ext cx="4584700" cy="898297"/>
          </a:xfrm>
        </p:spPr>
        <p:txBody>
          <a:bodyPr>
            <a:normAutofit/>
          </a:bodyPr>
          <a:lstStyle/>
          <a:p>
            <a:r>
              <a:rPr lang="da-DK" dirty="0" smtClean="0"/>
              <a:t>Hvorfor lave en videnscafé?</a:t>
            </a:r>
            <a:endParaRPr lang="da-DK" dirty="0"/>
          </a:p>
        </p:txBody>
      </p:sp>
      <p:sp>
        <p:nvSpPr>
          <p:cNvPr id="4" name="Pladsholder til indhold 3"/>
          <p:cNvSpPr>
            <a:spLocks noGrp="1"/>
          </p:cNvSpPr>
          <p:nvPr>
            <p:ph sz="quarter" idx="13"/>
          </p:nvPr>
        </p:nvSpPr>
        <p:spPr>
          <a:xfrm>
            <a:off x="539750" y="1544793"/>
            <a:ext cx="5125945" cy="4282763"/>
          </a:xfrm>
        </p:spPr>
        <p:txBody>
          <a:bodyPr/>
          <a:lstStyle/>
          <a:p>
            <a:pPr marL="0" indent="0">
              <a:buNone/>
            </a:pPr>
            <a:r>
              <a:rPr lang="da-DK" dirty="0" smtClean="0"/>
              <a:t>Formålet </a:t>
            </a:r>
            <a:r>
              <a:rPr lang="da-DK" dirty="0"/>
              <a:t>med en videnscafé </a:t>
            </a:r>
            <a:r>
              <a:rPr lang="da-DK" dirty="0" smtClean="0"/>
              <a:t>er, </a:t>
            </a:r>
            <a:r>
              <a:rPr lang="da-DK" dirty="0"/>
              <a:t>at den enkelte leder opnår ny indsigt om </a:t>
            </a:r>
            <a:r>
              <a:rPr lang="da-DK" dirty="0" smtClean="0"/>
              <a:t>ledelse og samtidig får mulighed for </a:t>
            </a:r>
            <a:r>
              <a:rPr lang="da-DK" dirty="0"/>
              <a:t>at netværke med andre ledere på tværs af ledelseslag og </a:t>
            </a:r>
            <a:r>
              <a:rPr lang="da-DK" dirty="0" smtClean="0"/>
              <a:t>fagområder.</a:t>
            </a:r>
          </a:p>
          <a:p>
            <a:pPr marL="0" indent="0">
              <a:buNone/>
            </a:pPr>
            <a:endParaRPr lang="da-DK" dirty="0"/>
          </a:p>
          <a:p>
            <a:pPr marL="0" indent="0">
              <a:buNone/>
            </a:pPr>
            <a:r>
              <a:rPr lang="da-DK" dirty="0" smtClean="0"/>
              <a:t>En </a:t>
            </a:r>
            <a:r>
              <a:rPr lang="da-DK" dirty="0"/>
              <a:t>videnscafé skal ses som en vitaminindsprøjtning af enten praksis eller </a:t>
            </a:r>
            <a:r>
              <a:rPr lang="da-DK" dirty="0" smtClean="0"/>
              <a:t>forskningsbaseret viden </a:t>
            </a:r>
            <a:r>
              <a:rPr lang="da-DK" dirty="0"/>
              <a:t>med afsæt i aktuelle og relevante temaer indenfor offentlig ledelse. </a:t>
            </a:r>
            <a:r>
              <a:rPr lang="da-DK" dirty="0" smtClean="0"/>
              <a:t>Viden </a:t>
            </a:r>
            <a:r>
              <a:rPr lang="da-DK" dirty="0"/>
              <a:t>der kan give anledning til nye tanker, refleksion og måder at gøre tingene på.</a:t>
            </a:r>
          </a:p>
          <a:p>
            <a:pPr marL="0" indent="0">
              <a:buNone/>
            </a:pPr>
            <a:endParaRPr lang="da-DK" dirty="0" smtClean="0"/>
          </a:p>
          <a:p>
            <a:pPr marL="0" indent="0">
              <a:buNone/>
            </a:pPr>
            <a:endParaRPr lang="da-DK" b="1" dirty="0"/>
          </a:p>
          <a:p>
            <a:pPr marL="0" indent="0">
              <a:buNone/>
            </a:pPr>
            <a:r>
              <a:rPr lang="da-DK" b="1" dirty="0" smtClean="0"/>
              <a:t>Udviklet </a:t>
            </a:r>
            <a:r>
              <a:rPr lang="da-DK" b="1" dirty="0"/>
              <a:t>af Program for ledelsesudvikling i staten</a:t>
            </a:r>
          </a:p>
          <a:p>
            <a:pPr marL="0" indent="0">
              <a:buNone/>
            </a:pPr>
            <a:r>
              <a:rPr lang="da-DK" dirty="0"/>
              <a:t>Konceptet er oprindeligt udviklet af Program for Ledelsesudvikling i staten (PLUS). Du kan finde information om afholdte og kommende videnscaféer </a:t>
            </a:r>
            <a:r>
              <a:rPr lang="da-DK" dirty="0">
                <a:hlinkClick r:id="rId2"/>
              </a:rPr>
              <a:t>her</a:t>
            </a:r>
            <a:r>
              <a:rPr lang="da-DK" dirty="0"/>
              <a:t> som inspiration til at holde jeres egen. </a:t>
            </a:r>
          </a:p>
        </p:txBody>
      </p:sp>
      <p:sp>
        <p:nvSpPr>
          <p:cNvPr id="8" name="Pladsholder til slidenummer 7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a-DK" smtClean="0"/>
              <a:t>Side </a:t>
            </a:r>
            <a:fld id="{24C8C45C-947F-4981-8B3F-4F32E973C901}" type="slidenum">
              <a:rPr lang="da-DK" smtClean="0"/>
              <a:pPr/>
              <a:t>1</a:t>
            </a:fld>
            <a:endParaRPr lang="da-DK" dirty="0"/>
          </a:p>
        </p:txBody>
      </p:sp>
      <p:sp>
        <p:nvSpPr>
          <p:cNvPr id="6" name="Pladsholder til dato 5"/>
          <p:cNvSpPr>
            <a:spLocks noGrp="1"/>
          </p:cNvSpPr>
          <p:nvPr>
            <p:ph type="dt" sz="half" idx="4294967295"/>
          </p:nvPr>
        </p:nvSpPr>
        <p:spPr>
          <a:xfrm>
            <a:off x="0" y="6911975"/>
            <a:ext cx="0" cy="0"/>
          </a:xfrm>
        </p:spPr>
        <p:txBody>
          <a:bodyPr/>
          <a:lstStyle/>
          <a:p>
            <a:fld id="{23F89D7C-DBD3-4932-BFAE-007301BA21FA}" type="datetime2">
              <a:rPr lang="da-DK" smtClean="0"/>
              <a:t>28. marts 2023</a:t>
            </a:fld>
            <a:endParaRPr lang="da-DK" dirty="0"/>
          </a:p>
        </p:txBody>
      </p:sp>
      <p:sp>
        <p:nvSpPr>
          <p:cNvPr id="16" name="Rektangel 15"/>
          <p:cNvSpPr/>
          <p:nvPr/>
        </p:nvSpPr>
        <p:spPr>
          <a:xfrm>
            <a:off x="7014367" y="524463"/>
            <a:ext cx="4524377" cy="518503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1000"/>
              </a:lnSpc>
            </a:pPr>
            <a:endParaRPr lang="da-DK" sz="1500" noProof="0" dirty="0" err="1"/>
          </a:p>
        </p:txBody>
      </p:sp>
      <p:pic>
        <p:nvPicPr>
          <p:cNvPr id="15" name="Pladsholder til billed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672" r="17672"/>
          <a:stretch>
            <a:fillRect/>
          </a:stretch>
        </p:blipFill>
        <p:spPr>
          <a:xfrm>
            <a:off x="7109617" y="591138"/>
            <a:ext cx="4344989" cy="5036317"/>
          </a:xfrm>
          <a:prstGeom prst="rect">
            <a:avLst/>
          </a:prstGeom>
          <a:solidFill>
            <a:schemeClr val="bg2"/>
          </a:solidFill>
        </p:spPr>
      </p:pic>
    </p:spTree>
    <p:extLst>
      <p:ext uri="{BB962C8B-B14F-4D97-AF65-F5344CB8AC3E}">
        <p14:creationId xmlns:p14="http://schemas.microsoft.com/office/powerpoint/2010/main" val="4328654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ktangel 20"/>
          <p:cNvSpPr/>
          <p:nvPr/>
        </p:nvSpPr>
        <p:spPr>
          <a:xfrm>
            <a:off x="0" y="0"/>
            <a:ext cx="6086475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1000"/>
              </a:lnSpc>
            </a:pPr>
            <a:endParaRPr lang="da-DK" sz="1500" noProof="0" dirty="0" err="1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577862" y="627176"/>
            <a:ext cx="4032988" cy="898297"/>
          </a:xfrm>
        </p:spPr>
        <p:txBody>
          <a:bodyPr/>
          <a:lstStyle/>
          <a:p>
            <a:r>
              <a:rPr lang="da-DK" dirty="0" smtClean="0"/>
              <a:t>Hvad er en videnscafé?</a:t>
            </a:r>
            <a:endParaRPr lang="da-DK" dirty="0"/>
          </a:p>
        </p:txBody>
      </p:sp>
      <p:sp>
        <p:nvSpPr>
          <p:cNvPr id="4" name="Pladsholder til indhold 3"/>
          <p:cNvSpPr>
            <a:spLocks noGrp="1"/>
          </p:cNvSpPr>
          <p:nvPr>
            <p:ph sz="quarter" idx="13"/>
          </p:nvPr>
        </p:nvSpPr>
        <p:spPr>
          <a:xfrm>
            <a:off x="6577862" y="1668618"/>
            <a:ext cx="5375276" cy="4282763"/>
          </a:xfrm>
        </p:spPr>
        <p:txBody>
          <a:bodyPr/>
          <a:lstStyle/>
          <a:p>
            <a:pPr marL="0" indent="0">
              <a:buNone/>
            </a:pPr>
            <a:r>
              <a:rPr lang="da-DK" dirty="0" smtClean="0"/>
              <a:t>En </a:t>
            </a:r>
            <a:r>
              <a:rPr lang="da-DK" dirty="0"/>
              <a:t>videnscafé er enkeltstående morgenmøder eller </a:t>
            </a:r>
            <a:r>
              <a:rPr lang="da-DK" dirty="0" err="1"/>
              <a:t>gå-hjem-møder</a:t>
            </a:r>
            <a:r>
              <a:rPr lang="da-DK" dirty="0"/>
              <a:t>, hvor fokus er </a:t>
            </a:r>
            <a:r>
              <a:rPr lang="da-DK" dirty="0" smtClean="0"/>
              <a:t>på viden og debat. Praktikere</a:t>
            </a:r>
            <a:r>
              <a:rPr lang="da-DK" dirty="0"/>
              <a:t>, debattører, forskere m.fl. drøfter aktuelle tendenser og trends i offentlig </a:t>
            </a:r>
            <a:r>
              <a:rPr lang="da-DK" dirty="0" smtClean="0"/>
              <a:t>ledelse, men det </a:t>
            </a:r>
            <a:r>
              <a:rPr lang="da-DK" dirty="0"/>
              <a:t>kan også være </a:t>
            </a:r>
            <a:r>
              <a:rPr lang="da-DK" dirty="0" smtClean="0"/>
              <a:t>et andet relevant </a:t>
            </a:r>
            <a:r>
              <a:rPr lang="da-DK" dirty="0"/>
              <a:t>tema, der er særligt aktuelt hos jer.</a:t>
            </a:r>
          </a:p>
          <a:p>
            <a:pPr marL="0" indent="0">
              <a:buNone/>
            </a:pPr>
            <a:endParaRPr lang="da-DK" dirty="0" smtClean="0"/>
          </a:p>
          <a:p>
            <a:pPr marL="0" indent="0">
              <a:buNone/>
            </a:pPr>
            <a:r>
              <a:rPr lang="da-DK" sz="1600" b="1" dirty="0" smtClean="0"/>
              <a:t>Oplæg</a:t>
            </a:r>
            <a:r>
              <a:rPr lang="da-DK" sz="1600" b="1" dirty="0"/>
              <a:t>, paneldebat, miniworkshop, m.m. </a:t>
            </a:r>
          </a:p>
          <a:p>
            <a:pPr marL="0" indent="0">
              <a:buNone/>
            </a:pPr>
            <a:r>
              <a:rPr lang="da-DK" dirty="0"/>
              <a:t>En videnscafé kan have forskellige formater. Det skal være den gode idé og det aktuelle tema, der bærer arrangementet. </a:t>
            </a:r>
          </a:p>
          <a:p>
            <a:pPr marL="0" indent="0">
              <a:buNone/>
            </a:pPr>
            <a:endParaRPr lang="da-DK" dirty="0" smtClean="0"/>
          </a:p>
          <a:p>
            <a:pPr marL="0" indent="0">
              <a:buNone/>
            </a:pPr>
            <a:r>
              <a:rPr lang="da-DK" dirty="0" smtClean="0"/>
              <a:t>En </a:t>
            </a:r>
            <a:r>
              <a:rPr lang="da-DK" dirty="0"/>
              <a:t>videnscafé kan f.eks. være:</a:t>
            </a:r>
          </a:p>
          <a:p>
            <a:pPr marL="285750" indent="-285750"/>
            <a:r>
              <a:rPr lang="da-DK" sz="1300" dirty="0"/>
              <a:t>Et inspirationsoplæg fra en ledelsesekspert med efterfølgende paneldebat.</a:t>
            </a:r>
          </a:p>
          <a:p>
            <a:pPr marL="285750" indent="-285750"/>
            <a:r>
              <a:rPr lang="da-DK" sz="1300" dirty="0"/>
              <a:t>Et par inspirationsoplæg med praktikere fra samme eller forskellige organisationer med efterfølgende miniworkshops.</a:t>
            </a:r>
          </a:p>
          <a:p>
            <a:pPr marL="285750" indent="-285750"/>
            <a:r>
              <a:rPr lang="da-DK" sz="1300" dirty="0"/>
              <a:t>Korte oplæg med 3-4 paneldeltagerne og efterfølgende paneldebat. </a:t>
            </a:r>
          </a:p>
          <a:p>
            <a:pPr marL="285750" indent="-285750"/>
            <a:endParaRPr lang="da-DK" dirty="0"/>
          </a:p>
          <a:p>
            <a:endParaRPr lang="da-DK" dirty="0"/>
          </a:p>
        </p:txBody>
      </p:sp>
      <p:sp>
        <p:nvSpPr>
          <p:cNvPr id="24" name="Rektangel 23"/>
          <p:cNvSpPr/>
          <p:nvPr/>
        </p:nvSpPr>
        <p:spPr>
          <a:xfrm>
            <a:off x="785018" y="627176"/>
            <a:ext cx="4524377" cy="518503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1000"/>
              </a:lnSpc>
            </a:pPr>
            <a:endParaRPr lang="da-DK" sz="1500" noProof="0" dirty="0" err="1"/>
          </a:p>
        </p:txBody>
      </p:sp>
      <p:pic>
        <p:nvPicPr>
          <p:cNvPr id="18" name="Pladsholder til billede 17"/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596" t="709" r="21596"/>
          <a:stretch/>
        </p:blipFill>
        <p:spPr>
          <a:xfrm>
            <a:off x="870743" y="695325"/>
            <a:ext cx="4344988" cy="5000624"/>
          </a:xfrm>
        </p:spPr>
      </p:pic>
      <p:sp>
        <p:nvSpPr>
          <p:cNvPr id="7" name="Pladsholder til slidenummer 6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a-DK" smtClean="0"/>
              <a:t>Side </a:t>
            </a:r>
            <a:fld id="{24C8C45C-947F-4981-8B3F-4F32E973C901}" type="slidenum">
              <a:rPr lang="da-DK" smtClean="0"/>
              <a:pPr/>
              <a:t>2</a:t>
            </a:fld>
            <a:endParaRPr lang="da-DK" dirty="0"/>
          </a:p>
        </p:txBody>
      </p:sp>
      <p:sp>
        <p:nvSpPr>
          <p:cNvPr id="8" name="Pladsholder til dato 7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C13B4246-41E1-4EEF-A8D2-6AEB00197B41}" type="datetime2">
              <a:rPr lang="da-DK" smtClean="0"/>
              <a:t>28. marts 2023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0408705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ktangel 12"/>
          <p:cNvSpPr/>
          <p:nvPr/>
        </p:nvSpPr>
        <p:spPr>
          <a:xfrm>
            <a:off x="438150" y="5962650"/>
            <a:ext cx="1295400" cy="6176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1000"/>
              </a:lnSpc>
            </a:pPr>
            <a:endParaRPr lang="da-DK" sz="1500" noProof="0" dirty="0" err="1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82623" y="426266"/>
            <a:ext cx="5156201" cy="898297"/>
          </a:xfrm>
        </p:spPr>
        <p:txBody>
          <a:bodyPr>
            <a:normAutofit/>
          </a:bodyPr>
          <a:lstStyle/>
          <a:p>
            <a:r>
              <a:rPr lang="da-DK" dirty="0" smtClean="0"/>
              <a:t>Sådan laver du en videnscafé</a:t>
            </a:r>
            <a:endParaRPr lang="da-DK" dirty="0"/>
          </a:p>
        </p:txBody>
      </p:sp>
      <p:sp>
        <p:nvSpPr>
          <p:cNvPr id="4" name="Pladsholder til indhold 3"/>
          <p:cNvSpPr>
            <a:spLocks noGrp="1"/>
          </p:cNvSpPr>
          <p:nvPr>
            <p:ph sz="quarter" idx="13"/>
          </p:nvPr>
        </p:nvSpPr>
        <p:spPr>
          <a:xfrm>
            <a:off x="682623" y="1402212"/>
            <a:ext cx="5125945" cy="4282763"/>
          </a:xfrm>
          <a:solidFill>
            <a:schemeClr val="bg1"/>
          </a:solidFill>
        </p:spPr>
        <p:txBody>
          <a:bodyPr/>
          <a:lstStyle/>
          <a:p>
            <a:pPr marL="0" indent="0">
              <a:buNone/>
            </a:pPr>
            <a:r>
              <a:rPr lang="da-DK" dirty="0"/>
              <a:t>En videnscafé kan have forskellige </a:t>
            </a:r>
            <a:r>
              <a:rPr lang="da-DK" dirty="0" smtClean="0"/>
              <a:t>formater og den kan både være fysisk og virtuel. </a:t>
            </a:r>
          </a:p>
          <a:p>
            <a:pPr marL="0" indent="0">
              <a:buNone/>
            </a:pPr>
            <a:endParaRPr lang="da-DK" dirty="0"/>
          </a:p>
          <a:p>
            <a:pPr marL="0" indent="0">
              <a:buNone/>
            </a:pPr>
            <a:r>
              <a:rPr lang="da-DK" dirty="0" smtClean="0"/>
              <a:t>Sådan </a:t>
            </a:r>
            <a:r>
              <a:rPr lang="da-DK" dirty="0"/>
              <a:t>kommer </a:t>
            </a:r>
            <a:r>
              <a:rPr lang="da-DK" dirty="0" smtClean="0"/>
              <a:t>du i gang:</a:t>
            </a:r>
            <a:endParaRPr lang="da-DK" dirty="0"/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da-DK" sz="1300" dirty="0"/>
              <a:t>Få en god idé til et tema, som har en vis aktualitet og bred appel på tværs af målgruppen </a:t>
            </a:r>
            <a:endParaRPr lang="da-DK" sz="1300" dirty="0" smtClean="0"/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da-DK" sz="1300" dirty="0" smtClean="0"/>
              <a:t>Find </a:t>
            </a:r>
            <a:r>
              <a:rPr lang="da-DK" sz="1300" dirty="0"/>
              <a:t>nogle </a:t>
            </a:r>
            <a:r>
              <a:rPr lang="da-DK" sz="1300" dirty="0" smtClean="0"/>
              <a:t>oplægsholdere og paneldeltagere, </a:t>
            </a:r>
            <a:r>
              <a:rPr lang="da-DK" sz="1300" dirty="0"/>
              <a:t>som kan give idéen liv. Gå efter de tre E’er: Ejerskab, Engagement og Energi. Det er en god idé at tænke </a:t>
            </a:r>
            <a:r>
              <a:rPr lang="da-DK" sz="1300" dirty="0" smtClean="0"/>
              <a:t>diversitet </a:t>
            </a:r>
            <a:r>
              <a:rPr lang="da-DK" sz="1300" dirty="0"/>
              <a:t>i panelet (f.eks. køn, personlighed, </a:t>
            </a:r>
            <a:r>
              <a:rPr lang="da-DK" sz="1300" dirty="0" smtClean="0"/>
              <a:t>faglighed) og overvej eksempelvis at få en leder, en ekspert og/eller </a:t>
            </a:r>
            <a:r>
              <a:rPr lang="da-DK" sz="1300" dirty="0"/>
              <a:t>forsker</a:t>
            </a:r>
            <a:r>
              <a:rPr lang="da-DK" sz="1300" dirty="0" smtClean="0"/>
              <a:t> </a:t>
            </a:r>
            <a:r>
              <a:rPr lang="da-DK" sz="1300" dirty="0"/>
              <a:t>til at holde et fagligt inspirationsoplæg. 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da-DK" sz="1300" dirty="0"/>
              <a:t>Fastlæg gerne datoen i </a:t>
            </a:r>
            <a:r>
              <a:rPr lang="da-DK" sz="1300" dirty="0" smtClean="0"/>
              <a:t>god tid med oplægsholder og paneldeltagere - og beslut format og lokation. </a:t>
            </a:r>
            <a:endParaRPr lang="da-DK" sz="1300" dirty="0"/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da-DK" sz="1300" dirty="0"/>
              <a:t>Skiv en tekst til jeres hjemmeside eller intranet, der gør arrangementet interessant og som samtidig er kort og overskuelig. </a:t>
            </a:r>
            <a:endParaRPr lang="da-DK" sz="1300" dirty="0" smtClean="0"/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da-DK" sz="1300" dirty="0" smtClean="0"/>
              <a:t>Send invitationer til målgruppen 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da-DK" sz="1300" dirty="0" smtClean="0"/>
              <a:t>Udarbejd </a:t>
            </a:r>
            <a:r>
              <a:rPr lang="da-DK" sz="1300" dirty="0"/>
              <a:t>en detaljeret drejebog og overvej om I skal have en </a:t>
            </a:r>
            <a:r>
              <a:rPr lang="da-DK" sz="1300" dirty="0" err="1"/>
              <a:t>moderator</a:t>
            </a:r>
            <a:r>
              <a:rPr lang="da-DK" sz="1300" dirty="0"/>
              <a:t> eller facilitator</a:t>
            </a:r>
            <a:r>
              <a:rPr lang="da-DK" sz="1300" dirty="0" smtClean="0"/>
              <a:t>.</a:t>
            </a:r>
          </a:p>
          <a:p>
            <a:pPr marL="0" indent="0">
              <a:buNone/>
            </a:pPr>
            <a:endParaRPr lang="da-DK" sz="1400" dirty="0"/>
          </a:p>
        </p:txBody>
      </p:sp>
      <p:sp>
        <p:nvSpPr>
          <p:cNvPr id="8" name="Pladsholder til slidenummer 7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a-DK" smtClean="0"/>
              <a:t>Side </a:t>
            </a:r>
            <a:fld id="{24C8C45C-947F-4981-8B3F-4F32E973C901}" type="slidenum">
              <a:rPr lang="da-DK" smtClean="0"/>
              <a:pPr/>
              <a:t>3</a:t>
            </a:fld>
            <a:endParaRPr lang="da-DK" dirty="0"/>
          </a:p>
        </p:txBody>
      </p:sp>
      <p:sp>
        <p:nvSpPr>
          <p:cNvPr id="6" name="Pladsholder til dato 5"/>
          <p:cNvSpPr>
            <a:spLocks noGrp="1"/>
          </p:cNvSpPr>
          <p:nvPr>
            <p:ph type="dt" sz="half" idx="4294967295"/>
          </p:nvPr>
        </p:nvSpPr>
        <p:spPr>
          <a:xfrm>
            <a:off x="0" y="6911975"/>
            <a:ext cx="0" cy="0"/>
          </a:xfrm>
        </p:spPr>
        <p:txBody>
          <a:bodyPr/>
          <a:lstStyle/>
          <a:p>
            <a:fld id="{23F89D7C-DBD3-4932-BFAE-007301BA21FA}" type="datetime2">
              <a:rPr lang="da-DK" smtClean="0"/>
              <a:t>28. marts 2023</a:t>
            </a:fld>
            <a:endParaRPr lang="da-DK" dirty="0"/>
          </a:p>
        </p:txBody>
      </p:sp>
      <p:sp>
        <p:nvSpPr>
          <p:cNvPr id="10" name="Rektangel 9"/>
          <p:cNvSpPr/>
          <p:nvPr/>
        </p:nvSpPr>
        <p:spPr>
          <a:xfrm>
            <a:off x="6105525" y="0"/>
            <a:ext cx="6086475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1000"/>
              </a:lnSpc>
            </a:pPr>
            <a:endParaRPr lang="da-DK" sz="1500" noProof="0" dirty="0" err="1"/>
          </a:p>
        </p:txBody>
      </p:sp>
      <p:sp>
        <p:nvSpPr>
          <p:cNvPr id="12" name="Rektangel 11"/>
          <p:cNvSpPr/>
          <p:nvPr/>
        </p:nvSpPr>
        <p:spPr>
          <a:xfrm>
            <a:off x="7105649" y="893900"/>
            <a:ext cx="4286251" cy="515447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1000"/>
              </a:lnSpc>
            </a:pPr>
            <a:endParaRPr lang="da-DK" sz="1500" noProof="0" dirty="0" err="1"/>
          </a:p>
        </p:txBody>
      </p:sp>
      <p:sp>
        <p:nvSpPr>
          <p:cNvPr id="14" name="Rektangel 13"/>
          <p:cNvSpPr/>
          <p:nvPr/>
        </p:nvSpPr>
        <p:spPr>
          <a:xfrm>
            <a:off x="7210425" y="1261160"/>
            <a:ext cx="4057650" cy="4691823"/>
          </a:xfrm>
          <a:prstGeom prst="rect">
            <a:avLst/>
          </a:prstGeom>
          <a:solidFill>
            <a:schemeClr val="bg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1000"/>
              </a:lnSpc>
            </a:pPr>
            <a:endParaRPr lang="da-DK" sz="1500" noProof="0" dirty="0" err="1"/>
          </a:p>
        </p:txBody>
      </p:sp>
      <p:sp>
        <p:nvSpPr>
          <p:cNvPr id="3" name="Tekstfelt 2"/>
          <p:cNvSpPr txBox="1"/>
          <p:nvPr/>
        </p:nvSpPr>
        <p:spPr>
          <a:xfrm>
            <a:off x="7334250" y="1337360"/>
            <a:ext cx="3657600" cy="4570482"/>
          </a:xfrm>
          <a:prstGeom prst="rect">
            <a:avLst/>
          </a:prstGeom>
          <a:solidFill>
            <a:schemeClr val="bg2"/>
          </a:solidFill>
          <a:ln w="57150"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 marL="352425" indent="-171450" defTabSz="862013">
              <a:buFont typeface="Arial" panose="020B0604020202020204" pitchFamily="34" charset="0"/>
              <a:buChar char="•"/>
              <a:tabLst>
                <a:tab pos="4305300" algn="l"/>
              </a:tabLst>
            </a:pPr>
            <a:r>
              <a:rPr lang="da-DK" sz="1100" b="1" dirty="0" smtClean="0">
                <a:solidFill>
                  <a:schemeClr val="accent2">
                    <a:lumMod val="75000"/>
                  </a:schemeClr>
                </a:solidFill>
              </a:rPr>
              <a:t>Mere </a:t>
            </a:r>
            <a:r>
              <a:rPr lang="da-DK" sz="1100" b="1" dirty="0">
                <a:solidFill>
                  <a:schemeClr val="accent2">
                    <a:lumMod val="75000"/>
                  </a:schemeClr>
                </a:solidFill>
              </a:rPr>
              <a:t>kreativitet i </a:t>
            </a:r>
            <a:r>
              <a:rPr lang="da-DK" sz="1100" b="1" dirty="0" smtClean="0">
                <a:solidFill>
                  <a:schemeClr val="accent2">
                    <a:lumMod val="75000"/>
                  </a:schemeClr>
                </a:solidFill>
              </a:rPr>
              <a:t>ledelse</a:t>
            </a:r>
          </a:p>
          <a:p>
            <a:pPr marL="361950" lvl="1" defTabSz="862013">
              <a:tabLst>
                <a:tab pos="4305300" algn="l"/>
              </a:tabLst>
            </a:pPr>
            <a:r>
              <a:rPr lang="da-DK" sz="1100" dirty="0" smtClean="0">
                <a:solidFill>
                  <a:schemeClr val="accent2">
                    <a:lumMod val="75000"/>
                  </a:schemeClr>
                </a:solidFill>
              </a:rPr>
              <a:t>Hvordan </a:t>
            </a:r>
            <a:r>
              <a:rPr lang="da-DK" sz="1100" dirty="0">
                <a:solidFill>
                  <a:schemeClr val="accent2">
                    <a:lumMod val="75000"/>
                  </a:schemeClr>
                </a:solidFill>
              </a:rPr>
              <a:t>kan vi fremme kreativitet i ledelse, så vi ikke altid gør, som vi plejer?</a:t>
            </a:r>
          </a:p>
          <a:p>
            <a:pPr marL="352425" indent="-171450" defTabSz="862013">
              <a:buFont typeface="Arial" panose="020B0604020202020204" pitchFamily="34" charset="0"/>
              <a:buChar char="•"/>
              <a:tabLst>
                <a:tab pos="4305300" algn="l"/>
              </a:tabLst>
            </a:pPr>
            <a:r>
              <a:rPr lang="da-DK" sz="1100" b="1" dirty="0">
                <a:solidFill>
                  <a:schemeClr val="accent2">
                    <a:lumMod val="75000"/>
                  </a:schemeClr>
                </a:solidFill>
              </a:rPr>
              <a:t>Implementering </a:t>
            </a:r>
            <a:r>
              <a:rPr lang="da-DK" sz="1100" b="1" dirty="0" smtClean="0">
                <a:solidFill>
                  <a:schemeClr val="accent2">
                    <a:lumMod val="75000"/>
                  </a:schemeClr>
                </a:solidFill>
              </a:rPr>
              <a:t>forandringer og nye reformer </a:t>
            </a:r>
            <a:r>
              <a:rPr lang="da-DK" sz="1100" dirty="0">
                <a:solidFill>
                  <a:schemeClr val="accent2">
                    <a:lumMod val="75000"/>
                  </a:schemeClr>
                </a:solidFill>
              </a:rPr>
              <a:t>Hvordan sikrer vi, at vi får nye tiltag og reformer til at leve?</a:t>
            </a:r>
          </a:p>
          <a:p>
            <a:pPr marL="352425" indent="-171450" defTabSz="862013">
              <a:buFont typeface="Arial" panose="020B0604020202020204" pitchFamily="34" charset="0"/>
              <a:buChar char="•"/>
              <a:tabLst>
                <a:tab pos="4305300" algn="l"/>
              </a:tabLst>
            </a:pPr>
            <a:r>
              <a:rPr lang="da-DK" sz="1100" b="1" dirty="0">
                <a:solidFill>
                  <a:schemeClr val="accent2">
                    <a:lumMod val="75000"/>
                  </a:schemeClr>
                </a:solidFill>
              </a:rPr>
              <a:t>Ledelse på </a:t>
            </a:r>
            <a:r>
              <a:rPr lang="da-DK" sz="1100" b="1" dirty="0" smtClean="0">
                <a:solidFill>
                  <a:schemeClr val="accent2">
                    <a:lumMod val="75000"/>
                  </a:schemeClr>
                </a:solidFill>
              </a:rPr>
              <a:t>tværs</a:t>
            </a:r>
          </a:p>
          <a:p>
            <a:pPr marL="361950" lvl="1" defTabSz="862013">
              <a:tabLst>
                <a:tab pos="4305300" algn="l"/>
              </a:tabLst>
            </a:pPr>
            <a:r>
              <a:rPr lang="da-DK" sz="1100" dirty="0" smtClean="0">
                <a:solidFill>
                  <a:schemeClr val="accent2">
                    <a:lumMod val="75000"/>
                  </a:schemeClr>
                </a:solidFill>
              </a:rPr>
              <a:t>Hvem </a:t>
            </a:r>
            <a:r>
              <a:rPr lang="da-DK" sz="1100" dirty="0">
                <a:solidFill>
                  <a:schemeClr val="accent2">
                    <a:lumMod val="75000"/>
                  </a:schemeClr>
                </a:solidFill>
              </a:rPr>
              <a:t>har ansvaret, og hvordan ser det ud i praksis? </a:t>
            </a:r>
          </a:p>
          <a:p>
            <a:pPr marL="352425" indent="-171450" defTabSz="862013">
              <a:buFont typeface="Arial" panose="020B0604020202020204" pitchFamily="34" charset="0"/>
              <a:buChar char="•"/>
              <a:tabLst>
                <a:tab pos="4305300" algn="l"/>
              </a:tabLst>
            </a:pPr>
            <a:r>
              <a:rPr lang="da-DK" sz="1100" b="1" dirty="0">
                <a:solidFill>
                  <a:schemeClr val="accent2">
                    <a:lumMod val="75000"/>
                  </a:schemeClr>
                </a:solidFill>
              </a:rPr>
              <a:t>Ledelse i en digital </a:t>
            </a:r>
            <a:r>
              <a:rPr lang="da-DK" sz="1100" b="1" dirty="0" smtClean="0">
                <a:solidFill>
                  <a:schemeClr val="accent2">
                    <a:lumMod val="75000"/>
                  </a:schemeClr>
                </a:solidFill>
              </a:rPr>
              <a:t>virkelighed</a:t>
            </a:r>
          </a:p>
          <a:p>
            <a:pPr marL="361950" lvl="1" defTabSz="862013">
              <a:tabLst>
                <a:tab pos="4305300" algn="l"/>
              </a:tabLst>
            </a:pPr>
            <a:r>
              <a:rPr lang="da-DK" sz="1100" dirty="0" smtClean="0">
                <a:solidFill>
                  <a:schemeClr val="accent2">
                    <a:lumMod val="75000"/>
                  </a:schemeClr>
                </a:solidFill>
              </a:rPr>
              <a:t>Hvordan </a:t>
            </a:r>
            <a:r>
              <a:rPr lang="da-DK" sz="1100" dirty="0">
                <a:solidFill>
                  <a:schemeClr val="accent2">
                    <a:lumMod val="75000"/>
                  </a:schemeClr>
                </a:solidFill>
              </a:rPr>
              <a:t>bidrager ledelse til, </a:t>
            </a:r>
            <a:r>
              <a:rPr lang="da-DK" sz="1100" dirty="0" smtClean="0">
                <a:solidFill>
                  <a:schemeClr val="accent2">
                    <a:lumMod val="75000"/>
                  </a:schemeClr>
                </a:solidFill>
              </a:rPr>
              <a:t>at </a:t>
            </a:r>
            <a:r>
              <a:rPr lang="da-DK" sz="1100" dirty="0">
                <a:solidFill>
                  <a:schemeClr val="accent2">
                    <a:lumMod val="75000"/>
                  </a:schemeClr>
                </a:solidFill>
              </a:rPr>
              <a:t>digitalisering skaber værdi for borgere og medarbejdere? </a:t>
            </a:r>
          </a:p>
          <a:p>
            <a:pPr marL="352425" indent="-171450" defTabSz="862013">
              <a:buFont typeface="Arial" panose="020B0604020202020204" pitchFamily="34" charset="0"/>
              <a:buChar char="•"/>
              <a:tabLst>
                <a:tab pos="4305300" algn="l"/>
              </a:tabLst>
            </a:pPr>
            <a:r>
              <a:rPr lang="da-DK" sz="1100" b="1" dirty="0" smtClean="0">
                <a:solidFill>
                  <a:schemeClr val="accent2">
                    <a:lumMod val="75000"/>
                  </a:schemeClr>
                </a:solidFill>
              </a:rPr>
              <a:t>Mangfoldighedsledelse</a:t>
            </a:r>
          </a:p>
          <a:p>
            <a:pPr marL="361950" defTabSz="862013">
              <a:tabLst>
                <a:tab pos="4305300" algn="l"/>
              </a:tabLst>
            </a:pPr>
            <a:r>
              <a:rPr lang="da-DK" sz="1100" dirty="0" smtClean="0">
                <a:solidFill>
                  <a:schemeClr val="accent2">
                    <a:lumMod val="75000"/>
                  </a:schemeClr>
                </a:solidFill>
              </a:rPr>
              <a:t>Hvordan </a:t>
            </a:r>
            <a:r>
              <a:rPr lang="da-DK" sz="1100" dirty="0">
                <a:solidFill>
                  <a:schemeClr val="accent2">
                    <a:lumMod val="75000"/>
                  </a:schemeClr>
                </a:solidFill>
              </a:rPr>
              <a:t>leder vi ift. diversitet og inklusion? </a:t>
            </a:r>
          </a:p>
          <a:p>
            <a:pPr marL="352425" indent="-171450" defTabSz="862013">
              <a:buFont typeface="Arial" panose="020B0604020202020204" pitchFamily="34" charset="0"/>
              <a:buChar char="•"/>
              <a:tabLst>
                <a:tab pos="4305300" algn="l"/>
              </a:tabLst>
            </a:pPr>
            <a:r>
              <a:rPr lang="da-DK" sz="1100" b="1" dirty="0" smtClean="0">
                <a:solidFill>
                  <a:schemeClr val="accent2">
                    <a:lumMod val="75000"/>
                  </a:schemeClr>
                </a:solidFill>
              </a:rPr>
              <a:t>Ledelse, </a:t>
            </a:r>
            <a:r>
              <a:rPr lang="da-DK" sz="1100" b="1" dirty="0">
                <a:solidFill>
                  <a:schemeClr val="accent2">
                    <a:lumMod val="75000"/>
                  </a:schemeClr>
                </a:solidFill>
              </a:rPr>
              <a:t>der understøtter en demokratisk </a:t>
            </a:r>
            <a:r>
              <a:rPr lang="da-DK" sz="1100" b="1" dirty="0" smtClean="0">
                <a:solidFill>
                  <a:schemeClr val="accent2">
                    <a:lumMod val="75000"/>
                  </a:schemeClr>
                </a:solidFill>
              </a:rPr>
              <a:t>dialog</a:t>
            </a:r>
          </a:p>
          <a:p>
            <a:pPr marL="361950" defTabSz="862013">
              <a:tabLst>
                <a:tab pos="4305300" algn="l"/>
              </a:tabLst>
            </a:pPr>
            <a:r>
              <a:rPr lang="da-DK" sz="1100" dirty="0" smtClean="0">
                <a:solidFill>
                  <a:schemeClr val="accent2">
                    <a:lumMod val="75000"/>
                  </a:schemeClr>
                </a:solidFill>
              </a:rPr>
              <a:t>Hvordan </a:t>
            </a:r>
            <a:r>
              <a:rPr lang="da-DK" sz="1100" dirty="0">
                <a:solidFill>
                  <a:schemeClr val="accent2">
                    <a:lumMod val="75000"/>
                  </a:schemeClr>
                </a:solidFill>
              </a:rPr>
              <a:t>(</a:t>
            </a:r>
            <a:r>
              <a:rPr lang="da-DK" sz="1100" dirty="0" smtClean="0">
                <a:solidFill>
                  <a:schemeClr val="accent2">
                    <a:lumMod val="75000"/>
                  </a:schemeClr>
                </a:solidFill>
              </a:rPr>
              <a:t>gen)skaber vi </a:t>
            </a:r>
            <a:r>
              <a:rPr lang="da-DK" sz="1100" dirty="0">
                <a:solidFill>
                  <a:schemeClr val="accent2">
                    <a:lumMod val="75000"/>
                  </a:schemeClr>
                </a:solidFill>
              </a:rPr>
              <a:t>tillid til embedsværket og </a:t>
            </a:r>
            <a:r>
              <a:rPr lang="da-DK" sz="1100" dirty="0" smtClean="0">
                <a:solidFill>
                  <a:schemeClr val="accent2">
                    <a:lumMod val="75000"/>
                  </a:schemeClr>
                </a:solidFill>
              </a:rPr>
              <a:t>politikere? </a:t>
            </a:r>
            <a:endParaRPr lang="da-DK" sz="1100" dirty="0">
              <a:solidFill>
                <a:schemeClr val="accent2">
                  <a:lumMod val="75000"/>
                </a:schemeClr>
              </a:solidFill>
            </a:endParaRPr>
          </a:p>
          <a:p>
            <a:pPr marL="352425" indent="-171450" defTabSz="862013">
              <a:buFont typeface="Arial" panose="020B0604020202020204" pitchFamily="34" charset="0"/>
              <a:buChar char="•"/>
              <a:tabLst>
                <a:tab pos="4305300" algn="l"/>
              </a:tabLst>
            </a:pPr>
            <a:r>
              <a:rPr lang="da-DK" sz="1100" b="1" dirty="0">
                <a:solidFill>
                  <a:schemeClr val="accent2">
                    <a:lumMod val="75000"/>
                  </a:schemeClr>
                </a:solidFill>
              </a:rPr>
              <a:t>Ledelse af bæredygtig udvikling og grøn </a:t>
            </a:r>
            <a:r>
              <a:rPr lang="da-DK" sz="1100" b="1" dirty="0" smtClean="0">
                <a:solidFill>
                  <a:schemeClr val="accent2">
                    <a:lumMod val="75000"/>
                  </a:schemeClr>
                </a:solidFill>
              </a:rPr>
              <a:t>omstilling</a:t>
            </a:r>
          </a:p>
          <a:p>
            <a:pPr marL="361950" defTabSz="862013">
              <a:tabLst>
                <a:tab pos="4305300" algn="l"/>
              </a:tabLst>
            </a:pPr>
            <a:r>
              <a:rPr lang="da-DK" sz="1100" dirty="0" smtClean="0">
                <a:solidFill>
                  <a:schemeClr val="accent2">
                    <a:lumMod val="75000"/>
                  </a:schemeClr>
                </a:solidFill>
              </a:rPr>
              <a:t>Hvordan </a:t>
            </a:r>
            <a:r>
              <a:rPr lang="da-DK" sz="1100" dirty="0">
                <a:solidFill>
                  <a:schemeClr val="accent2">
                    <a:lumMod val="75000"/>
                  </a:schemeClr>
                </a:solidFill>
              </a:rPr>
              <a:t>prioriterer vi bæredygtighed på tværs? </a:t>
            </a:r>
          </a:p>
          <a:p>
            <a:pPr marL="352425" indent="-171450" defTabSz="862013">
              <a:buFont typeface="Arial" panose="020B0604020202020204" pitchFamily="34" charset="0"/>
              <a:buChar char="•"/>
              <a:tabLst>
                <a:tab pos="4305300" algn="l"/>
              </a:tabLst>
            </a:pPr>
            <a:r>
              <a:rPr lang="da-DK" sz="1100" b="1" dirty="0">
                <a:solidFill>
                  <a:schemeClr val="accent2">
                    <a:lumMod val="75000"/>
                  </a:schemeClr>
                </a:solidFill>
              </a:rPr>
              <a:t>Nye ledelses- og </a:t>
            </a:r>
            <a:r>
              <a:rPr lang="da-DK" sz="1100" b="1" dirty="0" smtClean="0">
                <a:solidFill>
                  <a:schemeClr val="accent2">
                    <a:lumMod val="75000"/>
                  </a:schemeClr>
                </a:solidFill>
              </a:rPr>
              <a:t>organisationsformer</a:t>
            </a:r>
          </a:p>
          <a:p>
            <a:pPr marL="361950" defTabSz="862013">
              <a:tabLst>
                <a:tab pos="4305300" algn="l"/>
              </a:tabLst>
            </a:pPr>
            <a:r>
              <a:rPr lang="da-DK" sz="1100" dirty="0" smtClean="0">
                <a:solidFill>
                  <a:schemeClr val="accent2">
                    <a:lumMod val="75000"/>
                  </a:schemeClr>
                </a:solidFill>
              </a:rPr>
              <a:t>Hvordan </a:t>
            </a:r>
            <a:r>
              <a:rPr lang="da-DK" sz="1100" dirty="0">
                <a:solidFill>
                  <a:schemeClr val="accent2">
                    <a:lumMod val="75000"/>
                  </a:schemeClr>
                </a:solidFill>
              </a:rPr>
              <a:t>kan vi eksperimentere med nye måder at organisere os på?</a:t>
            </a:r>
          </a:p>
          <a:p>
            <a:pPr marL="352425" indent="-171450" defTabSz="862013">
              <a:buFont typeface="Arial" panose="020B0604020202020204" pitchFamily="34" charset="0"/>
              <a:buChar char="•"/>
              <a:tabLst>
                <a:tab pos="4305300" algn="l"/>
              </a:tabLst>
            </a:pPr>
            <a:r>
              <a:rPr lang="da-DK" sz="1100" b="1" dirty="0" smtClean="0">
                <a:solidFill>
                  <a:schemeClr val="accent2">
                    <a:lumMod val="75000"/>
                  </a:schemeClr>
                </a:solidFill>
              </a:rPr>
              <a:t>Ledelsesevaluering</a:t>
            </a:r>
          </a:p>
          <a:p>
            <a:pPr marL="361950" defTabSz="862013">
              <a:tabLst>
                <a:tab pos="4305300" algn="l"/>
              </a:tabLst>
            </a:pPr>
            <a:r>
              <a:rPr lang="da-DK" sz="1100" dirty="0" smtClean="0">
                <a:solidFill>
                  <a:schemeClr val="accent2">
                    <a:lumMod val="75000"/>
                  </a:schemeClr>
                </a:solidFill>
              </a:rPr>
              <a:t>Hvordan </a:t>
            </a:r>
            <a:r>
              <a:rPr lang="da-DK" sz="1100" dirty="0">
                <a:solidFill>
                  <a:schemeClr val="accent2">
                    <a:lumMod val="75000"/>
                  </a:schemeClr>
                </a:solidFill>
              </a:rPr>
              <a:t>evaluerer vi ledelse og bruger det konstruktivt i udviklingen af </a:t>
            </a:r>
            <a:r>
              <a:rPr lang="da-DK" sz="1100" dirty="0" smtClean="0">
                <a:solidFill>
                  <a:schemeClr val="accent2">
                    <a:lumMod val="75000"/>
                  </a:schemeClr>
                </a:solidFill>
              </a:rPr>
              <a:t>lederne?</a:t>
            </a:r>
          </a:p>
          <a:p>
            <a:pPr marL="352425" indent="-171450" defTabSz="862013">
              <a:buFont typeface="Arial" panose="020B0604020202020204" pitchFamily="34" charset="0"/>
              <a:buChar char="•"/>
              <a:tabLst>
                <a:tab pos="4305300" algn="l"/>
              </a:tabLst>
            </a:pPr>
            <a:r>
              <a:rPr lang="da-DK" sz="1100" b="1" dirty="0" smtClean="0">
                <a:solidFill>
                  <a:schemeClr val="accent2">
                    <a:lumMod val="75000"/>
                  </a:schemeClr>
                </a:solidFill>
              </a:rPr>
              <a:t>Tillidsbaseret ledelse</a:t>
            </a:r>
          </a:p>
          <a:p>
            <a:pPr marL="361950" defTabSz="862013">
              <a:tabLst>
                <a:tab pos="4305300" algn="l"/>
              </a:tabLst>
            </a:pPr>
            <a:r>
              <a:rPr lang="da-DK" sz="1100" dirty="0" smtClean="0">
                <a:solidFill>
                  <a:schemeClr val="accent2">
                    <a:lumMod val="75000"/>
                  </a:schemeClr>
                </a:solidFill>
              </a:rPr>
              <a:t>Hvordan </a:t>
            </a:r>
            <a:r>
              <a:rPr lang="da-DK" sz="1100" dirty="0">
                <a:solidFill>
                  <a:schemeClr val="accent2">
                    <a:lumMod val="75000"/>
                  </a:schemeClr>
                </a:solidFill>
              </a:rPr>
              <a:t>ser det ud i praksis? </a:t>
            </a:r>
          </a:p>
        </p:txBody>
      </p:sp>
      <p:sp>
        <p:nvSpPr>
          <p:cNvPr id="11" name="Tekstfelt 10"/>
          <p:cNvSpPr txBox="1"/>
          <p:nvPr/>
        </p:nvSpPr>
        <p:spPr>
          <a:xfrm>
            <a:off x="7210425" y="940502"/>
            <a:ext cx="3962400" cy="2562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1000"/>
              </a:lnSpc>
            </a:pPr>
            <a:r>
              <a:rPr lang="da-DK" sz="1500" b="1" dirty="0" smtClean="0">
                <a:solidFill>
                  <a:schemeClr val="accent2">
                    <a:lumMod val="75000"/>
                  </a:schemeClr>
                </a:solidFill>
              </a:rPr>
              <a:t>Inspiration til temaer til din videnscafé</a:t>
            </a:r>
            <a:endParaRPr lang="da-DK" sz="1500" b="1" dirty="0">
              <a:solidFill>
                <a:schemeClr val="accent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51842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ktangel 14"/>
          <p:cNvSpPr/>
          <p:nvPr/>
        </p:nvSpPr>
        <p:spPr>
          <a:xfrm>
            <a:off x="0" y="0"/>
            <a:ext cx="6086475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1000"/>
              </a:lnSpc>
            </a:pPr>
            <a:endParaRPr lang="da-DK" sz="1500" noProof="0" dirty="0" err="1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757194" y="339512"/>
            <a:ext cx="4117975" cy="898297"/>
          </a:xfrm>
        </p:spPr>
        <p:txBody>
          <a:bodyPr>
            <a:normAutofit/>
          </a:bodyPr>
          <a:lstStyle/>
          <a:p>
            <a:r>
              <a:rPr lang="da-DK" dirty="0" smtClean="0"/>
              <a:t>Planlægning og tidsplan</a:t>
            </a:r>
            <a:endParaRPr lang="da-DK" dirty="0"/>
          </a:p>
        </p:txBody>
      </p:sp>
      <p:sp>
        <p:nvSpPr>
          <p:cNvPr id="4" name="Pladsholder til indhold 3"/>
          <p:cNvSpPr>
            <a:spLocks noGrp="1"/>
          </p:cNvSpPr>
          <p:nvPr>
            <p:ph sz="quarter" idx="13"/>
          </p:nvPr>
        </p:nvSpPr>
        <p:spPr>
          <a:xfrm>
            <a:off x="6757194" y="1437834"/>
            <a:ext cx="5082382" cy="4282763"/>
          </a:xfrm>
        </p:spPr>
        <p:txBody>
          <a:bodyPr/>
          <a:lstStyle/>
          <a:p>
            <a:pPr marL="0" indent="0">
              <a:buNone/>
            </a:pPr>
            <a:r>
              <a:rPr lang="da-DK" dirty="0"/>
              <a:t>Inden afholdelse af videnscaféen kan det være en fordel at have lagt en god </a:t>
            </a:r>
            <a:r>
              <a:rPr lang="da-DK" dirty="0" smtClean="0"/>
              <a:t>tidsplan. </a:t>
            </a:r>
            <a:endParaRPr lang="da-DK" dirty="0"/>
          </a:p>
          <a:p>
            <a:pPr marL="0" indent="0">
              <a:buNone/>
            </a:pPr>
            <a:endParaRPr lang="da-DK" dirty="0" smtClean="0"/>
          </a:p>
          <a:p>
            <a:pPr marL="0" indent="0">
              <a:buNone/>
            </a:pPr>
            <a:r>
              <a:rPr lang="da-DK" dirty="0" smtClean="0"/>
              <a:t>Få styr på to-do</a:t>
            </a:r>
          </a:p>
          <a:p>
            <a:r>
              <a:rPr lang="da-DK" sz="1300" dirty="0" smtClean="0"/>
              <a:t>Aftalt tema, oplægsholder og format </a:t>
            </a:r>
          </a:p>
          <a:p>
            <a:r>
              <a:rPr lang="da-DK" sz="1300" dirty="0" smtClean="0"/>
              <a:t>Beslut om videnscaféen skal være fysisk eller virtuel</a:t>
            </a:r>
          </a:p>
          <a:p>
            <a:r>
              <a:rPr lang="da-DK" sz="1300" dirty="0" smtClean="0"/>
              <a:t>Planlæg forberedelse og facilitere nødvendige arbejdsmøder frem mod videnscaféen </a:t>
            </a:r>
          </a:p>
          <a:p>
            <a:r>
              <a:rPr lang="da-DK" sz="1300" dirty="0" smtClean="0"/>
              <a:t>Sikre nødvendige </a:t>
            </a:r>
            <a:r>
              <a:rPr lang="da-DK" sz="1300" dirty="0" err="1" smtClean="0"/>
              <a:t>godkendelsesflow</a:t>
            </a:r>
            <a:r>
              <a:rPr lang="da-DK" sz="1300" dirty="0" smtClean="0"/>
              <a:t> </a:t>
            </a:r>
          </a:p>
          <a:p>
            <a:r>
              <a:rPr lang="da-DK" sz="1300" dirty="0" smtClean="0"/>
              <a:t>Sørg </a:t>
            </a:r>
            <a:r>
              <a:rPr lang="da-DK" sz="1300" dirty="0"/>
              <a:t>for platform for digital afholdelse eller </a:t>
            </a:r>
            <a:r>
              <a:rPr lang="da-DK" sz="1300" dirty="0" smtClean="0"/>
              <a:t>book konferencested</a:t>
            </a:r>
          </a:p>
          <a:p>
            <a:r>
              <a:rPr lang="da-DK" sz="1300" dirty="0" smtClean="0"/>
              <a:t>Lav drejebog, præsentation og evt. talepapirer til oplægsholdere</a:t>
            </a:r>
          </a:p>
          <a:p>
            <a:r>
              <a:rPr lang="da-DK" sz="1300" dirty="0" smtClean="0"/>
              <a:t>Klargøre indhold og tekst til markedsføring af event – opsæt hjemmeside og tilmeldingslink og forbered markedsføring via øvrige kanaler </a:t>
            </a:r>
          </a:p>
          <a:p>
            <a:r>
              <a:rPr lang="da-DK" sz="1300" dirty="0" smtClean="0"/>
              <a:t>Lav en mail-invitation og invitere deltagere i deres kalender</a:t>
            </a:r>
          </a:p>
          <a:p>
            <a:r>
              <a:rPr lang="da-DK" sz="1300" dirty="0" smtClean="0"/>
              <a:t>Bliv klar til at facilitere event – afholde evt. generalprøve </a:t>
            </a:r>
          </a:p>
          <a:p>
            <a:r>
              <a:rPr lang="da-DK" sz="1300" dirty="0" smtClean="0"/>
              <a:t>Sørg for at teste teknikken inden videnscaféen starter </a:t>
            </a:r>
          </a:p>
          <a:p>
            <a:r>
              <a:rPr lang="da-DK" sz="1300" dirty="0" smtClean="0"/>
              <a:t>Send materialer og slides til deltagerne efter videnscaféen</a:t>
            </a:r>
          </a:p>
          <a:p>
            <a:r>
              <a:rPr lang="da-DK" sz="1300" dirty="0" smtClean="0"/>
              <a:t>Evaluer og samle op med både deltagere og samarbejdspartnere</a:t>
            </a:r>
            <a:endParaRPr lang="da-DK" sz="1050" b="1" dirty="0" smtClean="0"/>
          </a:p>
          <a:p>
            <a:pPr marL="0" indent="0">
              <a:buNone/>
            </a:pPr>
            <a:endParaRPr lang="da-DK" sz="1050" b="1" dirty="0" smtClean="0"/>
          </a:p>
          <a:p>
            <a:pPr marL="0" indent="0" algn="r">
              <a:buNone/>
            </a:pPr>
            <a:r>
              <a:rPr lang="da-DK" sz="1050" b="1" i="1" dirty="0" smtClean="0"/>
              <a:t>NB! </a:t>
            </a:r>
            <a:r>
              <a:rPr lang="da-DK" sz="1050" i="1" dirty="0" smtClean="0"/>
              <a:t>Rammen (indhold, planlægning, tidsplanen etc.) kan tilpasses efter behov.</a:t>
            </a:r>
            <a:endParaRPr lang="da-DK" sz="1050" i="1" dirty="0"/>
          </a:p>
        </p:txBody>
      </p:sp>
      <p:pic>
        <p:nvPicPr>
          <p:cNvPr id="12" name="Picture 2" descr="Interview: Charlotte mistede lysten til livet og brugte hash som medicin"/>
          <p:cNvPicPr>
            <a:picLocks noChangeAspect="1" noChangeArrowheads="1"/>
          </p:cNvPicPr>
          <p:nvPr/>
        </p:nvPicPr>
        <p:blipFill rotWithShape="1">
          <a:blip r:embed="rId2" cstate="hq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10" t="3409" r="5220" b="-3409"/>
          <a:stretch/>
        </p:blipFill>
        <p:spPr bwMode="auto">
          <a:xfrm>
            <a:off x="27384" y="37261"/>
            <a:ext cx="1750219" cy="1003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Pladsholder til slidenummer 7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a-DK" smtClean="0"/>
              <a:t>Side </a:t>
            </a:r>
            <a:fld id="{24C8C45C-947F-4981-8B3F-4F32E973C901}" type="slidenum">
              <a:rPr lang="da-DK" smtClean="0"/>
              <a:pPr/>
              <a:t>4</a:t>
            </a:fld>
            <a:endParaRPr lang="da-DK" dirty="0"/>
          </a:p>
        </p:txBody>
      </p:sp>
      <p:sp>
        <p:nvSpPr>
          <p:cNvPr id="6" name="Pladsholder til dato 5"/>
          <p:cNvSpPr>
            <a:spLocks noGrp="1"/>
          </p:cNvSpPr>
          <p:nvPr>
            <p:ph type="dt" sz="half" idx="4294967295"/>
          </p:nvPr>
        </p:nvSpPr>
        <p:spPr>
          <a:xfrm>
            <a:off x="0" y="6911975"/>
            <a:ext cx="0" cy="0"/>
          </a:xfrm>
        </p:spPr>
        <p:txBody>
          <a:bodyPr/>
          <a:lstStyle/>
          <a:p>
            <a:fld id="{23F89D7C-DBD3-4932-BFAE-007301BA21FA}" type="datetime2">
              <a:rPr lang="da-DK" smtClean="0"/>
              <a:t>28. marts 2023</a:t>
            </a:fld>
            <a:endParaRPr lang="da-DK" dirty="0"/>
          </a:p>
        </p:txBody>
      </p:sp>
      <p:sp>
        <p:nvSpPr>
          <p:cNvPr id="11" name="Rektangel 10"/>
          <p:cNvSpPr/>
          <p:nvPr/>
        </p:nvSpPr>
        <p:spPr>
          <a:xfrm>
            <a:off x="731043" y="895350"/>
            <a:ext cx="4410076" cy="551921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1000"/>
              </a:lnSpc>
            </a:pPr>
            <a:endParaRPr lang="da-DK" sz="1500" noProof="0" dirty="0" err="1"/>
          </a:p>
        </p:txBody>
      </p:sp>
      <p:sp>
        <p:nvSpPr>
          <p:cNvPr id="14" name="Rektangel 13"/>
          <p:cNvSpPr/>
          <p:nvPr/>
        </p:nvSpPr>
        <p:spPr>
          <a:xfrm>
            <a:off x="902494" y="1066828"/>
            <a:ext cx="4057650" cy="5233440"/>
          </a:xfrm>
          <a:prstGeom prst="rect">
            <a:avLst/>
          </a:prstGeom>
          <a:solidFill>
            <a:schemeClr val="bg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1000"/>
              </a:lnSpc>
            </a:pPr>
            <a:endParaRPr lang="da-DK" sz="1500" noProof="0" dirty="0" err="1"/>
          </a:p>
        </p:txBody>
      </p:sp>
      <p:sp>
        <p:nvSpPr>
          <p:cNvPr id="10" name="Pladsholder til indhold 3"/>
          <p:cNvSpPr txBox="1">
            <a:spLocks/>
          </p:cNvSpPr>
          <p:nvPr/>
        </p:nvSpPr>
        <p:spPr>
          <a:xfrm>
            <a:off x="1057276" y="1261842"/>
            <a:ext cx="3829050" cy="4779609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216000" indent="-216000" algn="l" defTabSz="914400" rtl="0" eaLnBrk="1" latinLnBrk="0" hangingPunct="1">
              <a:lnSpc>
                <a:spcPct val="111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500" kern="1200" spc="1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0" indent="-216000" algn="l" defTabSz="914400" rtl="0" eaLnBrk="1" latinLnBrk="0" hangingPunct="1">
              <a:lnSpc>
                <a:spcPct val="111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 spc="1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8000" indent="-216000" algn="l" defTabSz="914400" rtl="0" eaLnBrk="1" latinLnBrk="0" hangingPunct="1">
              <a:lnSpc>
                <a:spcPct val="111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 spc="1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1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 kern="1200" spc="1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1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 b="1" kern="1200" spc="1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1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900" kern="1200" spc="1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89000"/>
              </a:lnSpc>
              <a:spcBef>
                <a:spcPts val="0"/>
              </a:spcBef>
              <a:buFont typeface="Arial" panose="020B0604020202020204" pitchFamily="34" charset="0"/>
              <a:buChar char="​"/>
              <a:tabLst/>
              <a:defRPr sz="3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86000"/>
              </a:lnSpc>
              <a:spcBef>
                <a:spcPts val="0"/>
              </a:spcBef>
              <a:buFont typeface="Arial" panose="020B0604020202020204" pitchFamily="34" charset="0"/>
              <a:buChar char="​"/>
              <a:tabLst/>
              <a:defRPr sz="5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tabLst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da-DK" sz="1100" b="1" dirty="0" smtClean="0">
                <a:solidFill>
                  <a:schemeClr val="accent2">
                    <a:lumMod val="75000"/>
                  </a:schemeClr>
                </a:solidFill>
              </a:rPr>
              <a:t>To måneder inden </a:t>
            </a:r>
          </a:p>
          <a:p>
            <a:pPr>
              <a:buFontTx/>
              <a:buChar char="-"/>
            </a:pPr>
            <a:r>
              <a:rPr lang="da-DK" sz="1100" dirty="0" smtClean="0">
                <a:solidFill>
                  <a:schemeClr val="accent2">
                    <a:lumMod val="75000"/>
                  </a:schemeClr>
                </a:solidFill>
              </a:rPr>
              <a:t>Tema, indhold, oplægsholdere aftales</a:t>
            </a:r>
          </a:p>
          <a:p>
            <a:pPr>
              <a:buFontTx/>
              <a:buChar char="-"/>
            </a:pPr>
            <a:r>
              <a:rPr lang="da-DK" sz="1100" dirty="0" smtClean="0">
                <a:solidFill>
                  <a:schemeClr val="accent2">
                    <a:lumMod val="75000"/>
                  </a:schemeClr>
                </a:solidFill>
              </a:rPr>
              <a:t>Beslutning om virtuel eller fysisk afholdelse</a:t>
            </a:r>
          </a:p>
          <a:p>
            <a:pPr>
              <a:buFontTx/>
              <a:buChar char="-"/>
            </a:pPr>
            <a:r>
              <a:rPr lang="da-DK" sz="1100" dirty="0" smtClean="0">
                <a:solidFill>
                  <a:schemeClr val="accent2">
                    <a:lumMod val="75000"/>
                  </a:schemeClr>
                </a:solidFill>
              </a:rPr>
              <a:t>Aftale godkendes af alle parter</a:t>
            </a:r>
          </a:p>
          <a:p>
            <a:pPr>
              <a:buFontTx/>
              <a:buChar char="-"/>
            </a:pPr>
            <a:endParaRPr lang="da-DK" sz="1100" dirty="0" smtClean="0">
              <a:solidFill>
                <a:schemeClr val="accent2">
                  <a:lumMod val="75000"/>
                </a:schemeClr>
              </a:solidFill>
            </a:endParaRPr>
          </a:p>
          <a:p>
            <a:pPr marL="0" indent="0">
              <a:buNone/>
            </a:pPr>
            <a:r>
              <a:rPr lang="da-DK" sz="1100" b="1" dirty="0" smtClean="0">
                <a:solidFill>
                  <a:schemeClr val="accent2">
                    <a:lumMod val="75000"/>
                  </a:schemeClr>
                </a:solidFill>
              </a:rPr>
              <a:t>Fire uger inden </a:t>
            </a:r>
            <a:endParaRPr lang="da-DK" sz="1100" dirty="0" smtClean="0">
              <a:solidFill>
                <a:schemeClr val="accent2">
                  <a:lumMod val="75000"/>
                </a:schemeClr>
              </a:solidFill>
            </a:endParaRPr>
          </a:p>
          <a:p>
            <a:pPr>
              <a:buFontTx/>
              <a:buChar char="-"/>
            </a:pPr>
            <a:r>
              <a:rPr lang="da-DK" sz="1100" dirty="0" smtClean="0">
                <a:solidFill>
                  <a:schemeClr val="accent2">
                    <a:lumMod val="75000"/>
                  </a:schemeClr>
                </a:solidFill>
              </a:rPr>
              <a:t>Tilbud om Videnscafe ligger på hjemmesiden </a:t>
            </a:r>
          </a:p>
          <a:p>
            <a:pPr>
              <a:buFontTx/>
              <a:buChar char="-"/>
            </a:pPr>
            <a:r>
              <a:rPr lang="da-DK" sz="1100" dirty="0" smtClean="0">
                <a:solidFill>
                  <a:schemeClr val="accent2">
                    <a:lumMod val="75000"/>
                  </a:schemeClr>
                </a:solidFill>
              </a:rPr>
              <a:t>Videnscaféen markedsføres (hjemmeside, intranet, nyhedsbrev og evt. mailiste og LinkedIn-profil)</a:t>
            </a:r>
          </a:p>
          <a:p>
            <a:endParaRPr lang="da-DK" sz="1100" dirty="0" smtClean="0">
              <a:solidFill>
                <a:schemeClr val="accent2">
                  <a:lumMod val="75000"/>
                </a:schemeClr>
              </a:solidFill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da-DK" sz="1100" b="1" dirty="0" smtClean="0">
                <a:solidFill>
                  <a:schemeClr val="accent2">
                    <a:lumMod val="75000"/>
                  </a:schemeClr>
                </a:solidFill>
              </a:rPr>
              <a:t>To- tre uger inden afholdelse </a:t>
            </a:r>
          </a:p>
          <a:p>
            <a:pPr>
              <a:buFontTx/>
              <a:buChar char="-"/>
            </a:pPr>
            <a:r>
              <a:rPr lang="da-DK" sz="1100" dirty="0" smtClean="0">
                <a:solidFill>
                  <a:schemeClr val="accent2">
                    <a:lumMod val="75000"/>
                  </a:schemeClr>
                </a:solidFill>
              </a:rPr>
              <a:t>Drejebog, præsentation og evt. talepapir klargøres </a:t>
            </a:r>
          </a:p>
          <a:p>
            <a:pPr>
              <a:buFontTx/>
              <a:buChar char="-"/>
            </a:pPr>
            <a:r>
              <a:rPr lang="da-DK" sz="1100" dirty="0" smtClean="0">
                <a:solidFill>
                  <a:schemeClr val="accent2">
                    <a:lumMod val="75000"/>
                  </a:schemeClr>
                </a:solidFill>
              </a:rPr>
              <a:t>Materialer godkendes af alle parter 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da-DK" sz="1100" dirty="0" smtClean="0">
              <a:solidFill>
                <a:schemeClr val="accent2">
                  <a:lumMod val="75000"/>
                </a:schemeClr>
              </a:solidFill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da-DK" sz="1100" b="1" dirty="0" smtClean="0">
                <a:solidFill>
                  <a:schemeClr val="accent2">
                    <a:lumMod val="75000"/>
                  </a:schemeClr>
                </a:solidFill>
              </a:rPr>
              <a:t>Ugen inden afholdelse</a:t>
            </a:r>
          </a:p>
          <a:p>
            <a:pPr>
              <a:buFontTx/>
              <a:buChar char="-"/>
            </a:pPr>
            <a:r>
              <a:rPr lang="da-DK" sz="1100" dirty="0" smtClean="0">
                <a:solidFill>
                  <a:schemeClr val="accent2">
                    <a:lumMod val="75000"/>
                  </a:schemeClr>
                </a:solidFill>
              </a:rPr>
              <a:t>Generalprøve og fælles gennemgang af drejebog</a:t>
            </a:r>
          </a:p>
          <a:p>
            <a:pPr>
              <a:buFontTx/>
              <a:buChar char="-"/>
            </a:pPr>
            <a:r>
              <a:rPr lang="da-DK" sz="1100" dirty="0" smtClean="0">
                <a:solidFill>
                  <a:schemeClr val="accent2">
                    <a:lumMod val="75000"/>
                  </a:schemeClr>
                </a:solidFill>
              </a:rPr>
              <a:t>Tilmelding lukkes og invitation sendes på mail til deltagerne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da-DK" sz="1100" dirty="0" smtClean="0">
              <a:solidFill>
                <a:schemeClr val="accent2">
                  <a:lumMod val="75000"/>
                </a:schemeClr>
              </a:solidFill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da-DK" sz="1100" b="1" dirty="0" smtClean="0">
                <a:solidFill>
                  <a:schemeClr val="accent2">
                    <a:lumMod val="75000"/>
                  </a:schemeClr>
                </a:solidFill>
              </a:rPr>
              <a:t>På dagen</a:t>
            </a:r>
          </a:p>
          <a:p>
            <a:pPr>
              <a:buFontTx/>
              <a:buChar char="-"/>
            </a:pPr>
            <a:r>
              <a:rPr lang="da-DK" sz="1100" dirty="0" smtClean="0">
                <a:solidFill>
                  <a:schemeClr val="accent2">
                    <a:lumMod val="75000"/>
                  </a:schemeClr>
                </a:solidFill>
              </a:rPr>
              <a:t>Test af teknik inden mødet starter</a:t>
            </a:r>
          </a:p>
          <a:p>
            <a:pPr>
              <a:buFontTx/>
              <a:buChar char="-"/>
            </a:pPr>
            <a:r>
              <a:rPr lang="da-DK" sz="1100" dirty="0" smtClean="0">
                <a:solidFill>
                  <a:schemeClr val="accent2">
                    <a:lumMod val="75000"/>
                  </a:schemeClr>
                </a:solidFill>
              </a:rPr>
              <a:t>Afholdelse af Videnscaféen </a:t>
            </a:r>
          </a:p>
          <a:p>
            <a:pPr marL="0" indent="0">
              <a:buNone/>
            </a:pPr>
            <a:endParaRPr lang="da-DK" sz="1100" dirty="0" smtClean="0">
              <a:solidFill>
                <a:schemeClr val="accent2">
                  <a:lumMod val="75000"/>
                </a:schemeClr>
              </a:solidFill>
            </a:endParaRPr>
          </a:p>
          <a:p>
            <a:pPr marL="0" indent="0">
              <a:buNone/>
            </a:pPr>
            <a:r>
              <a:rPr lang="da-DK" sz="1100" b="1" dirty="0" smtClean="0">
                <a:solidFill>
                  <a:schemeClr val="accent2">
                    <a:lumMod val="75000"/>
                  </a:schemeClr>
                </a:solidFill>
              </a:rPr>
              <a:t>Efter afholdelse </a:t>
            </a:r>
          </a:p>
          <a:p>
            <a:pPr>
              <a:buFontTx/>
              <a:buChar char="-"/>
            </a:pPr>
            <a:r>
              <a:rPr lang="da-DK" sz="1100" dirty="0" smtClean="0">
                <a:solidFill>
                  <a:schemeClr val="accent2">
                    <a:lumMod val="75000"/>
                  </a:schemeClr>
                </a:solidFill>
              </a:rPr>
              <a:t>Materialer og slides sendes til deltagerne</a:t>
            </a:r>
          </a:p>
          <a:p>
            <a:pPr>
              <a:buFontTx/>
              <a:buChar char="-"/>
            </a:pPr>
            <a:r>
              <a:rPr lang="da-DK" sz="1100" dirty="0" smtClean="0">
                <a:solidFill>
                  <a:schemeClr val="accent2">
                    <a:lumMod val="75000"/>
                  </a:schemeClr>
                </a:solidFill>
              </a:rPr>
              <a:t>Evaluer event</a:t>
            </a:r>
            <a:endParaRPr lang="da-DK" sz="110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13" name="Nedadgående pil 12"/>
          <p:cNvSpPr/>
          <p:nvPr/>
        </p:nvSpPr>
        <p:spPr>
          <a:xfrm>
            <a:off x="5511403" y="0"/>
            <a:ext cx="1085850" cy="5766164"/>
          </a:xfrm>
          <a:prstGeom prst="downArrow">
            <a:avLst>
              <a:gd name="adj1" fmla="val 32653"/>
              <a:gd name="adj2" fmla="val 36885"/>
            </a:avLst>
          </a:prstGeom>
          <a:ln w="28575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111000"/>
              </a:lnSpc>
            </a:pPr>
            <a:endParaRPr lang="da-DK" sz="1500" noProof="0" dirty="0" err="1"/>
          </a:p>
        </p:txBody>
      </p:sp>
    </p:spTree>
    <p:extLst>
      <p:ext uri="{BB962C8B-B14F-4D97-AF65-F5344CB8AC3E}">
        <p14:creationId xmlns:p14="http://schemas.microsoft.com/office/powerpoint/2010/main" val="35099708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dsholder til slidenummer 7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a-DK" smtClean="0"/>
              <a:t>Side </a:t>
            </a:r>
            <a:fld id="{24C8C45C-947F-4981-8B3F-4F32E973C901}" type="slidenum">
              <a:rPr lang="da-DK" smtClean="0"/>
              <a:pPr/>
              <a:t>5</a:t>
            </a:fld>
            <a:endParaRPr lang="da-DK" dirty="0"/>
          </a:p>
        </p:txBody>
      </p:sp>
      <p:sp>
        <p:nvSpPr>
          <p:cNvPr id="6" name="Pladsholder til dato 5"/>
          <p:cNvSpPr>
            <a:spLocks noGrp="1"/>
          </p:cNvSpPr>
          <p:nvPr>
            <p:ph type="dt" sz="half" idx="4294967295"/>
          </p:nvPr>
        </p:nvSpPr>
        <p:spPr>
          <a:xfrm>
            <a:off x="0" y="6911975"/>
            <a:ext cx="0" cy="0"/>
          </a:xfrm>
        </p:spPr>
        <p:txBody>
          <a:bodyPr/>
          <a:lstStyle/>
          <a:p>
            <a:fld id="{23F89D7C-DBD3-4932-BFAE-007301BA21FA}" type="datetime2">
              <a:rPr lang="da-DK" smtClean="0"/>
              <a:t>28. marts 2023</a:t>
            </a:fld>
            <a:endParaRPr lang="da-DK" dirty="0"/>
          </a:p>
        </p:txBody>
      </p:sp>
      <p:sp>
        <p:nvSpPr>
          <p:cNvPr id="12" name="Rektangel 11"/>
          <p:cNvSpPr/>
          <p:nvPr/>
        </p:nvSpPr>
        <p:spPr>
          <a:xfrm>
            <a:off x="6105525" y="-1"/>
            <a:ext cx="6086475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1000"/>
              </a:lnSpc>
            </a:pPr>
            <a:endParaRPr lang="da-DK" sz="1500" noProof="0" dirty="0" err="1"/>
          </a:p>
        </p:txBody>
      </p:sp>
      <p:sp>
        <p:nvSpPr>
          <p:cNvPr id="13" name="Titel 1"/>
          <p:cNvSpPr txBox="1">
            <a:spLocks/>
          </p:cNvSpPr>
          <p:nvPr/>
        </p:nvSpPr>
        <p:spPr>
          <a:xfrm>
            <a:off x="491387" y="591138"/>
            <a:ext cx="5375275" cy="898297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914400" rtl="0" eaLnBrk="1" latinLnBrk="0" hangingPunct="1">
              <a:lnSpc>
                <a:spcPct val="89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 dirty="0" smtClean="0"/>
              <a:t>God råd</a:t>
            </a:r>
            <a:endParaRPr lang="da-DK" dirty="0"/>
          </a:p>
        </p:txBody>
      </p:sp>
      <p:sp>
        <p:nvSpPr>
          <p:cNvPr id="14" name="Pladsholder til indhold 3"/>
          <p:cNvSpPr txBox="1">
            <a:spLocks/>
          </p:cNvSpPr>
          <p:nvPr/>
        </p:nvSpPr>
        <p:spPr>
          <a:xfrm>
            <a:off x="491387" y="1287618"/>
            <a:ext cx="5214088" cy="42827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16000" indent="-216000" algn="l" defTabSz="914400" rtl="0" eaLnBrk="1" latinLnBrk="0" hangingPunct="1">
              <a:lnSpc>
                <a:spcPct val="111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500" kern="1200" spc="1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0" indent="-216000" algn="l" defTabSz="914400" rtl="0" eaLnBrk="1" latinLnBrk="0" hangingPunct="1">
              <a:lnSpc>
                <a:spcPct val="111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 spc="1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8000" indent="-216000" algn="l" defTabSz="914400" rtl="0" eaLnBrk="1" latinLnBrk="0" hangingPunct="1">
              <a:lnSpc>
                <a:spcPct val="111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 spc="1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1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 kern="1200" spc="1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1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 b="1" kern="1200" spc="1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1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900" kern="1200" spc="1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89000"/>
              </a:lnSpc>
              <a:spcBef>
                <a:spcPts val="0"/>
              </a:spcBef>
              <a:buFont typeface="Arial" panose="020B0604020202020204" pitchFamily="34" charset="0"/>
              <a:buChar char="​"/>
              <a:tabLst/>
              <a:defRPr sz="3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86000"/>
              </a:lnSpc>
              <a:spcBef>
                <a:spcPts val="0"/>
              </a:spcBef>
              <a:buFont typeface="Arial" panose="020B0604020202020204" pitchFamily="34" charset="0"/>
              <a:buChar char="​"/>
              <a:tabLst/>
              <a:defRPr sz="5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tabLst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a-DK" b="1" dirty="0"/>
              <a:t>Team op med en partner</a:t>
            </a:r>
          </a:p>
          <a:p>
            <a:pPr marL="0" indent="0">
              <a:buNone/>
            </a:pPr>
            <a:r>
              <a:rPr lang="da-DK" dirty="0"/>
              <a:t>En god idé er at </a:t>
            </a:r>
            <a:r>
              <a:rPr lang="da-DK" dirty="0" err="1"/>
              <a:t>teame</a:t>
            </a:r>
            <a:r>
              <a:rPr lang="da-DK" dirty="0"/>
              <a:t> op med en anden organisation eller en anden samarbejdspartner og i fællesskab lave en videnscafé.</a:t>
            </a:r>
          </a:p>
          <a:p>
            <a:pPr marL="0" indent="0">
              <a:buNone/>
            </a:pPr>
            <a:endParaRPr lang="da-DK" dirty="0" smtClean="0"/>
          </a:p>
          <a:p>
            <a:pPr marL="0" indent="0">
              <a:buNone/>
            </a:pPr>
            <a:r>
              <a:rPr lang="da-DK" b="1" dirty="0" smtClean="0"/>
              <a:t>Aktiver deltagerne</a:t>
            </a:r>
          </a:p>
          <a:p>
            <a:pPr marL="0" indent="0">
              <a:buNone/>
            </a:pPr>
            <a:r>
              <a:rPr lang="da-DK" dirty="0" smtClean="0"/>
              <a:t>Giv </a:t>
            </a:r>
            <a:r>
              <a:rPr lang="da-DK" dirty="0"/>
              <a:t>plads og tid til at deltagerne kan tale sammen. Tænk det med i programmet, enten i form af små workshops, gruppedialoger eller 1:1 samtaler.</a:t>
            </a:r>
          </a:p>
          <a:p>
            <a:endParaRPr lang="da-DK" dirty="0"/>
          </a:p>
          <a:p>
            <a:pPr marL="0" indent="0">
              <a:buNone/>
            </a:pPr>
            <a:r>
              <a:rPr lang="da-DK" b="1" dirty="0"/>
              <a:t>Fysisk eller virtuelt?</a:t>
            </a:r>
          </a:p>
          <a:p>
            <a:pPr marL="0" indent="0">
              <a:buNone/>
            </a:pPr>
            <a:r>
              <a:rPr lang="da-DK" dirty="0"/>
              <a:t>En videnscafé kan afholdes både fysisk og virtuelt med samme effekt. Skal du afholde virtuelt, finder du nogle gode råd </a:t>
            </a:r>
            <a:r>
              <a:rPr lang="da-DK" dirty="0">
                <a:hlinkClick r:id="rId2"/>
              </a:rPr>
              <a:t>her</a:t>
            </a:r>
            <a:r>
              <a:rPr lang="da-DK" dirty="0" smtClean="0"/>
              <a:t>.</a:t>
            </a:r>
          </a:p>
          <a:p>
            <a:pPr marL="0" indent="0">
              <a:buNone/>
            </a:pPr>
            <a:endParaRPr lang="da-DK" dirty="0"/>
          </a:p>
          <a:p>
            <a:pPr marL="0" indent="0">
              <a:buNone/>
            </a:pPr>
            <a:endParaRPr lang="da-DK" dirty="0" smtClean="0"/>
          </a:p>
          <a:p>
            <a:pPr marL="0" indent="0">
              <a:buNone/>
            </a:pPr>
            <a:r>
              <a:rPr lang="da-DK" b="1" dirty="0" smtClean="0"/>
              <a:t>Se </a:t>
            </a:r>
            <a:r>
              <a:rPr lang="da-DK" b="1" dirty="0"/>
              <a:t>programmer og materialer fra tidligere videnscaféer afholdt af Program for Ledelsesudvikling i staten </a:t>
            </a:r>
            <a:r>
              <a:rPr lang="da-DK" b="1" dirty="0">
                <a:hlinkClick r:id="rId3"/>
              </a:rPr>
              <a:t>her.</a:t>
            </a:r>
            <a:endParaRPr lang="da-DK" b="1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16" name="Rektangel 15"/>
          <p:cNvSpPr/>
          <p:nvPr/>
        </p:nvSpPr>
        <p:spPr>
          <a:xfrm>
            <a:off x="6877048" y="609601"/>
            <a:ext cx="4524377" cy="518503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1000"/>
              </a:lnSpc>
            </a:pPr>
            <a:endParaRPr lang="da-DK" sz="1500" noProof="0" dirty="0" err="1"/>
          </a:p>
        </p:txBody>
      </p:sp>
      <p:pic>
        <p:nvPicPr>
          <p:cNvPr id="15" name="Billede 1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76267" y="696132"/>
            <a:ext cx="4344989" cy="5022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88366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tekst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Titel 3"/>
          <p:cNvSpPr>
            <a:spLocks noGrp="1"/>
          </p:cNvSpPr>
          <p:nvPr>
            <p:ph type="ctrTitle"/>
          </p:nvPr>
        </p:nvSpPr>
        <p:spPr>
          <a:xfrm>
            <a:off x="539749" y="1394807"/>
            <a:ext cx="8408308" cy="2068025"/>
          </a:xfrm>
        </p:spPr>
        <p:txBody>
          <a:bodyPr>
            <a:noAutofit/>
          </a:bodyPr>
          <a:lstStyle/>
          <a:p>
            <a:r>
              <a:rPr lang="da-DK" sz="3600" dirty="0"/>
              <a:t/>
            </a:r>
            <a:br>
              <a:rPr lang="da-DK" sz="3600" dirty="0"/>
            </a:br>
            <a:r>
              <a:rPr lang="da-DK" sz="3600" dirty="0"/>
              <a:t/>
            </a:r>
            <a:br>
              <a:rPr lang="da-DK" sz="3600" dirty="0"/>
            </a:br>
            <a:r>
              <a:rPr lang="da-DK" sz="3600" dirty="0"/>
              <a:t/>
            </a:r>
            <a:br>
              <a:rPr lang="da-DK" sz="3600" dirty="0"/>
            </a:br>
            <a:r>
              <a:rPr lang="da-DK" sz="3600" dirty="0"/>
              <a:t/>
            </a:r>
            <a:br>
              <a:rPr lang="da-DK" sz="3600" dirty="0"/>
            </a:br>
            <a:r>
              <a:rPr lang="da-DK" sz="3600" dirty="0"/>
              <a:t>Medarbejder- og kompetencestyrelsen</a:t>
            </a:r>
            <a:endParaRPr lang="da-DK" sz="3200" dirty="0">
              <a:solidFill>
                <a:srgbClr val="FFFFFF"/>
              </a:solidFill>
            </a:endParaRPr>
          </a:p>
        </p:txBody>
      </p:sp>
      <p:sp>
        <p:nvSpPr>
          <p:cNvPr id="5" name="Undertitel 4"/>
          <p:cNvSpPr>
            <a:spLocks noGrp="1"/>
          </p:cNvSpPr>
          <p:nvPr>
            <p:ph type="subTitle" idx="1"/>
          </p:nvPr>
        </p:nvSpPr>
        <p:spPr>
          <a:xfrm>
            <a:off x="539749" y="3600449"/>
            <a:ext cx="9747251" cy="845820"/>
          </a:xfrm>
        </p:spPr>
        <p:txBody>
          <a:bodyPr/>
          <a:lstStyle/>
          <a:p>
            <a:pPr>
              <a:buNone/>
            </a:pPr>
            <a:r>
              <a:rPr lang="da-DK" b="1" dirty="0" smtClean="0"/>
              <a:t>Få mere inspiration, viden og værktøjer på www.medst.dk</a:t>
            </a:r>
            <a:endParaRPr lang="da-DK" sz="1600" b="1" dirty="0"/>
          </a:p>
        </p:txBody>
      </p:sp>
      <p:sp>
        <p:nvSpPr>
          <p:cNvPr id="9" name="Pladsholder til sidefod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/>
              <a:t>Arbejdsområder og -opgaver i LEU og ASK</a:t>
            </a:r>
            <a:endParaRPr lang="da-DK" dirty="0"/>
          </a:p>
        </p:txBody>
      </p:sp>
      <p:sp>
        <p:nvSpPr>
          <p:cNvPr id="10" name="Pladsholder til slidenumm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pPr/>
              <a:t>6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5079267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X96A_yiwrwb6VGflYKQ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Q4.yaC7c1iAiHLds6jdQ"/>
</p:tagLst>
</file>

<file path=ppt/theme/theme1.xml><?xml version="1.0" encoding="utf-8"?>
<a:theme xmlns:a="http://schemas.openxmlformats.org/drawingml/2006/main" name="Blank">
  <a:themeElements>
    <a:clrScheme name="MEDST">
      <a:dk1>
        <a:srgbClr val="14143C"/>
      </a:dk1>
      <a:lt1>
        <a:srgbClr val="FFFFFF"/>
      </a:lt1>
      <a:dk2>
        <a:srgbClr val="D1C5C3"/>
      </a:dk2>
      <a:lt2>
        <a:srgbClr val="E8E2E1"/>
      </a:lt2>
      <a:accent1>
        <a:srgbClr val="14143C"/>
      </a:accent1>
      <a:accent2>
        <a:srgbClr val="72728A"/>
      </a:accent2>
      <a:accent3>
        <a:srgbClr val="B8B8C4"/>
      </a:accent3>
      <a:accent4>
        <a:srgbClr val="F39678"/>
      </a:accent4>
      <a:accent5>
        <a:srgbClr val="F8C0AE"/>
      </a:accent5>
      <a:accent6>
        <a:srgbClr val="FBDFD6"/>
      </a:accent6>
      <a:hlink>
        <a:srgbClr val="14143C"/>
      </a:hlink>
      <a:folHlink>
        <a:srgbClr val="14143C"/>
      </a:folHlink>
    </a:clrScheme>
    <a:fontScheme name="Skatteministerie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lnSpc>
            <a:spcPct val="111000"/>
          </a:lnSpc>
          <a:defRPr sz="1500" noProof="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lnSpc>
            <a:spcPct val="111000"/>
          </a:lnSpc>
          <a:defRPr sz="1500" dirty="0" err="1"/>
        </a:defPPr>
      </a:lstStyle>
    </a:txDef>
  </a:objectDefaults>
  <a:extraClrSchemeLst/>
  <a:custClrLst>
    <a:custClr name="Color has no name">
      <a:srgbClr val="14143C"/>
    </a:custClr>
    <a:custClr name="Color has no name">
      <a:srgbClr val="D1C5C3"/>
    </a:custClr>
    <a:custClr name="Color has no name">
      <a:srgbClr val="F39678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72728A"/>
    </a:custClr>
    <a:custClr name="Color has no name">
      <a:srgbClr val="E8E2E1"/>
    </a:custClr>
    <a:custClr name="Color has no name">
      <a:srgbClr val="F8C0AE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B8B8C4"/>
    </a:custClr>
    <a:custClr name="Color has no name">
      <a:srgbClr val="FFFFFF"/>
    </a:custClr>
    <a:custClr name="Color has no name">
      <a:srgbClr val="FBDFD6"/>
    </a:custClr>
    <a:custClr name="Color has no name"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E7E7EB"/>
    </a:custClr>
  </a:custClrLst>
  <a:extLst>
    <a:ext uri="{05A4C25C-085E-4340-85A3-A5531E510DB2}">
      <thm15:themeFamily xmlns:thm15="http://schemas.microsoft.com/office/thememl/2012/main" name="LEU-ASK-arbejdsgruppe - Oplæg, KU.potx" id="{95B0BFCB-65B0-401C-A51E-F1A75384CCA4}" vid="{55CA5915-7803-4ED8-BD75-7BDE0637694B}"/>
    </a:ext>
  </a:extLst>
</a:theme>
</file>

<file path=ppt/theme/theme2.xml><?xml version="1.0" encoding="utf-8"?>
<a:theme xmlns:a="http://schemas.openxmlformats.org/drawingml/2006/main" name="1_Blank">
  <a:themeElements>
    <a:clrScheme name="Mkst">
      <a:dk1>
        <a:srgbClr val="14143C"/>
      </a:dk1>
      <a:lt1>
        <a:srgbClr val="FFFFFF"/>
      </a:lt1>
      <a:dk2>
        <a:srgbClr val="D1C5C3"/>
      </a:dk2>
      <a:lt2>
        <a:srgbClr val="E8E2E1"/>
      </a:lt2>
      <a:accent1>
        <a:srgbClr val="14143C"/>
      </a:accent1>
      <a:accent2>
        <a:srgbClr val="72728A"/>
      </a:accent2>
      <a:accent3>
        <a:srgbClr val="B8B8C4"/>
      </a:accent3>
      <a:accent4>
        <a:srgbClr val="F39678"/>
      </a:accent4>
      <a:accent5>
        <a:srgbClr val="F8C0AE"/>
      </a:accent5>
      <a:accent6>
        <a:srgbClr val="FBDFD6"/>
      </a:accent6>
      <a:hlink>
        <a:srgbClr val="14143C"/>
      </a:hlink>
      <a:folHlink>
        <a:srgbClr val="14143C"/>
      </a:folHlink>
    </a:clrScheme>
    <a:fontScheme name="Skatteministerie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lnSpc>
            <a:spcPct val="111000"/>
          </a:lnSpc>
          <a:defRPr sz="1500" noProof="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lnSpc>
            <a:spcPct val="111000"/>
          </a:lnSpc>
          <a:defRPr sz="1500" dirty="0" err="1"/>
        </a:defPPr>
      </a:lstStyle>
    </a:txDef>
  </a:objectDefaults>
  <a:extraClrSchemeLst/>
  <a:custClrLst>
    <a:custClr name="Color has no name">
      <a:srgbClr val="14143C"/>
    </a:custClr>
    <a:custClr name="Color has no name">
      <a:srgbClr val="D1C5C3"/>
    </a:custClr>
    <a:custClr name="Color has no name">
      <a:srgbClr val="F39678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72728A"/>
    </a:custClr>
    <a:custClr name="Color has no name">
      <a:srgbClr val="E8E2E1"/>
    </a:custClr>
    <a:custClr name="Color has no name">
      <a:srgbClr val="F8C0AE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B8B8C4"/>
    </a:custClr>
    <a:custClr name="Color has no name">
      <a:srgbClr val="FFFFFF"/>
    </a:custClr>
    <a:custClr name="Color has no name">
      <a:srgbClr val="FBDFD6"/>
    </a:custClr>
    <a:custClr name="Color has no name"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E7E7EB"/>
    </a:custClr>
  </a:custClrLst>
  <a:extLst>
    <a:ext uri="{05A4C25C-085E-4340-85A3-A5531E510DB2}">
      <thm15:themeFamily xmlns:thm15="http://schemas.microsoft.com/office/thememl/2012/main" name="Medarbejder- og kompetencestyrelsen 16-9.potx" id="{1EC9F3E1-2EC6-4648-A1BE-0526383E1117}" vid="{E9D39D66-DF87-41A6-BF9A-7B1F7EF9A902}"/>
    </a:ext>
  </a:extLst>
</a:theme>
</file>

<file path=ppt/theme/theme3.xml><?xml version="1.0" encoding="utf-8"?>
<a:theme xmlns:a="http://schemas.openxmlformats.org/drawingml/2006/main" name="Office-tema">
  <a:themeElements>
    <a:clrScheme name="Kontor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Skabelondesign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Color has no name">
      <a:srgbClr val="14143C"/>
    </a:custClr>
    <a:custClr name="Color has no name">
      <a:srgbClr val="D1C5C3"/>
    </a:custClr>
    <a:custClr name="Color has no name">
      <a:srgbClr val="F39678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72728A"/>
    </a:custClr>
    <a:custClr name="Color has no name">
      <a:srgbClr val="E8E2E1"/>
    </a:custClr>
    <a:custClr name="Color has no name">
      <a:srgbClr val="F8C0AE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B8B8C4"/>
    </a:custClr>
    <a:custClr name="Color has no name">
      <a:srgbClr val="FFFFFF"/>
    </a:custClr>
    <a:custClr name="Color has no name">
      <a:srgbClr val="FBDFD6"/>
    </a:custClr>
    <a:custClr name="Color has no name"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E7E7EB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Skabelondesign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Color has no name">
      <a:srgbClr val="14143C"/>
    </a:custClr>
    <a:custClr name="Color has no name">
      <a:srgbClr val="D1C5C3"/>
    </a:custClr>
    <a:custClr name="Color has no name">
      <a:srgbClr val="F39678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72728A"/>
    </a:custClr>
    <a:custClr name="Color has no name">
      <a:srgbClr val="E8E2E1"/>
    </a:custClr>
    <a:custClr name="Color has no name">
      <a:srgbClr val="F8C0AE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B8B8C4"/>
    </a:custClr>
    <a:custClr name="Color has no name">
      <a:srgbClr val="FFFFFF"/>
    </a:custClr>
    <a:custClr name="Color has no name">
      <a:srgbClr val="FBDFD6"/>
    </a:custClr>
    <a:custClr name="Color has no name"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E7E7EB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LEU-ASK-arbejdsgruppe - Oplæg, KU</Template>
  <TotalTime>0</TotalTime>
  <Words>990</Words>
  <Application>Microsoft Office PowerPoint</Application>
  <PresentationFormat>Widescreen</PresentationFormat>
  <Paragraphs>122</Paragraphs>
  <Slides>7</Slides>
  <Notes>2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2</vt:i4>
      </vt:variant>
      <vt:variant>
        <vt:lpstr>Tema</vt:lpstr>
      </vt:variant>
      <vt:variant>
        <vt:i4>2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7</vt:i4>
      </vt:variant>
    </vt:vector>
  </HeadingPairs>
  <TitlesOfParts>
    <vt:vector size="12" baseType="lpstr">
      <vt:lpstr>Arial</vt:lpstr>
      <vt:lpstr>Wingdings</vt:lpstr>
      <vt:lpstr>Blank</vt:lpstr>
      <vt:lpstr>1_Blank</vt:lpstr>
      <vt:lpstr>think-cell Slide</vt:lpstr>
      <vt:lpstr>Lav en videnscafé</vt:lpstr>
      <vt:lpstr>Hvorfor lave en videnscafé?</vt:lpstr>
      <vt:lpstr>Hvad er en videnscafé?</vt:lpstr>
      <vt:lpstr>Sådan laver du en videnscafé</vt:lpstr>
      <vt:lpstr>Planlægning og tidsplan</vt:lpstr>
      <vt:lpstr>PowerPoint-præsentation</vt:lpstr>
      <vt:lpstr>    Medarbejder- og kompetencestyrelsen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0-06-18T14:12:38Z</dcterms:created>
  <dcterms:modified xsi:type="dcterms:W3CDTF">2023-03-28T10:52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 by">
    <vt:lpwstr>www.skabelondesign.dk</vt:lpwstr>
  </property>
  <property fmtid="{D5CDD505-2E9C-101B-9397-08002B2CF9AE}" pid="3" name="DocumentInfoFinished">
    <vt:lpwstr>True</vt:lpwstr>
  </property>
</Properties>
</file>